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482" r:id="rId5"/>
    <p:sldId id="743" r:id="rId6"/>
    <p:sldId id="738" r:id="rId7"/>
    <p:sldId id="723" r:id="rId8"/>
    <p:sldId id="724" r:id="rId9"/>
    <p:sldId id="737" r:id="rId10"/>
    <p:sldId id="726" r:id="rId11"/>
    <p:sldId id="692" r:id="rId12"/>
    <p:sldId id="728" r:id="rId13"/>
    <p:sldId id="734" r:id="rId14"/>
    <p:sldId id="741" r:id="rId15"/>
    <p:sldId id="742" r:id="rId16"/>
    <p:sldId id="729" r:id="rId17"/>
    <p:sldId id="736" r:id="rId18"/>
    <p:sldId id="740" r:id="rId19"/>
    <p:sldId id="739" r:id="rId20"/>
    <p:sldId id="732" r:id="rId21"/>
    <p:sldId id="731" r:id="rId22"/>
    <p:sldId id="733" r:id="rId23"/>
    <p:sldId id="735" r:id="rId24"/>
    <p:sldId id="676" r:id="rId25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2700">
          <p15:clr>
            <a:srgbClr val="A4A3A4"/>
          </p15:clr>
        </p15:guide>
        <p15:guide id="4" orient="horz" pos="820">
          <p15:clr>
            <a:srgbClr val="A4A3A4"/>
          </p15:clr>
        </p15:guide>
        <p15:guide id="5" orient="horz" pos="276">
          <p15:clr>
            <a:srgbClr val="A4A3A4"/>
          </p15:clr>
        </p15:guide>
        <p15:guide id="6" orient="horz" pos="667" userDrawn="1">
          <p15:clr>
            <a:srgbClr val="A4A3A4"/>
          </p15:clr>
        </p15:guide>
        <p15:guide id="7" orient="horz" pos="540">
          <p15:clr>
            <a:srgbClr val="A4A3A4"/>
          </p15:clr>
        </p15:guide>
        <p15:guide id="8" orient="horz" pos="123" userDrawn="1">
          <p15:clr>
            <a:srgbClr val="A4A3A4"/>
          </p15:clr>
        </p15:guide>
        <p15:guide id="9" orient="horz" pos="1624">
          <p15:clr>
            <a:srgbClr val="A4A3A4"/>
          </p15:clr>
        </p15:guide>
        <p15:guide id="10" pos="3726" userDrawn="1">
          <p15:clr>
            <a:srgbClr val="A4A3A4"/>
          </p15:clr>
        </p15:guide>
        <p15:guide id="11" pos="4614" userDrawn="1">
          <p15:clr>
            <a:srgbClr val="A4A3A4"/>
          </p15:clr>
        </p15:guide>
        <p15:guide id="12" pos="2028" userDrawn="1">
          <p15:clr>
            <a:srgbClr val="A4A3A4"/>
          </p15:clr>
        </p15:guide>
        <p15:guide id="13" pos="2922" userDrawn="1">
          <p15:clr>
            <a:srgbClr val="A4A3A4"/>
          </p15:clr>
        </p15:guide>
        <p15:guide id="14" pos="249" userDrawn="1">
          <p15:clr>
            <a:srgbClr val="A4A3A4"/>
          </p15:clr>
        </p15:guide>
        <p15:guide id="15" pos="3810" userDrawn="1">
          <p15:clr>
            <a:srgbClr val="A4A3A4"/>
          </p15:clr>
        </p15:guide>
        <p15:guide id="16" pos="4698" userDrawn="1">
          <p15:clr>
            <a:srgbClr val="A4A3A4"/>
          </p15:clr>
        </p15:guide>
        <p15:guide id="17" pos="2832" userDrawn="1">
          <p15:clr>
            <a:srgbClr val="A4A3A4"/>
          </p15:clr>
        </p15:guide>
        <p15:guide id="18" pos="1944" userDrawn="1">
          <p15:clr>
            <a:srgbClr val="A4A3A4"/>
          </p15:clr>
        </p15:guide>
        <p15:guide id="19" pos="5502" userDrawn="1">
          <p15:clr>
            <a:srgbClr val="A4A3A4"/>
          </p15:clr>
        </p15:guide>
        <p15:guide id="20" pos="1140" userDrawn="1">
          <p15:clr>
            <a:srgbClr val="A4A3A4"/>
          </p15:clr>
        </p15:guide>
        <p15:guide id="21" pos="10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D8D8"/>
    <a:srgbClr val="0092D2"/>
    <a:srgbClr val="D3F1FC"/>
    <a:srgbClr val="6F6F6E"/>
    <a:srgbClr val="EB6A0A"/>
    <a:srgbClr val="80D579"/>
    <a:srgbClr val="FDE1CC"/>
    <a:srgbClr val="416E3F"/>
    <a:srgbClr val="FFFFFF"/>
    <a:srgbClr val="263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41" autoAdjust="0"/>
    <p:restoredTop sz="93537" autoAdjust="0"/>
  </p:normalViewPr>
  <p:slideViewPr>
    <p:cSldViewPr snapToObjects="1" showGuides="1">
      <p:cViewPr varScale="1">
        <p:scale>
          <a:sx n="150" d="100"/>
          <a:sy n="150" d="100"/>
        </p:scale>
        <p:origin x="582" y="108"/>
      </p:cViewPr>
      <p:guideLst>
        <p:guide orient="horz" pos="1080"/>
        <p:guide orient="horz" pos="2160"/>
        <p:guide orient="horz" pos="2700"/>
        <p:guide orient="horz" pos="820"/>
        <p:guide orient="horz" pos="276"/>
        <p:guide orient="horz" pos="667"/>
        <p:guide orient="horz" pos="540"/>
        <p:guide orient="horz" pos="123"/>
        <p:guide orient="horz" pos="1624"/>
        <p:guide pos="3726"/>
        <p:guide pos="4614"/>
        <p:guide pos="2028"/>
        <p:guide pos="2922"/>
        <p:guide pos="249"/>
        <p:guide pos="3810"/>
        <p:guide pos="4698"/>
        <p:guide pos="2832"/>
        <p:guide pos="1944"/>
        <p:guide pos="5502"/>
        <p:guide pos="1140"/>
        <p:guide pos="10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F9EA4E-5FBC-4645-BE80-060B08D93E94}" type="doc">
      <dgm:prSet loTypeId="urn:microsoft.com/office/officeart/2005/8/layout/gear1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87A981D-21CB-4428-9BFC-D211A2F14496}">
      <dgm:prSet phldrT="[Text]" custT="1"/>
      <dgm:spPr>
        <a:solidFill>
          <a:srgbClr val="D3F1FC"/>
        </a:solidFill>
        <a:ln w="12700">
          <a:solidFill>
            <a:schemeClr val="tx2"/>
          </a:solidFill>
        </a:ln>
      </dgm:spPr>
      <dgm:t>
        <a:bodyPr/>
        <a:lstStyle/>
        <a:p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Separation of information flows (</a:t>
          </a:r>
          <a:r>
            <a:rPr lang="en-GB" sz="1000" b="1" kern="1200" dirty="0">
              <a:solidFill>
                <a:schemeClr val="tx1"/>
              </a:solidFill>
              <a:latin typeface="+mn-lt"/>
              <a:ea typeface="+mn-ea"/>
              <a:cs typeface="+mn-cs"/>
              <a:sym typeface="Wingdings" panose="05000000000000000000" pitchFamily="2" charset="2"/>
            </a:rPr>
            <a:t>control</a:t>
          </a: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) and data transfer (</a:t>
          </a:r>
          <a:r>
            <a:rPr lang="en-GB" sz="1000" b="1" kern="1200" dirty="0">
              <a:solidFill>
                <a:schemeClr val="tx1"/>
              </a:solidFill>
              <a:sym typeface="Wingdings" panose="05000000000000000000" pitchFamily="2" charset="2"/>
            </a:rPr>
            <a:t>exchange</a:t>
          </a: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)</a:t>
          </a:r>
          <a:endParaRPr lang="de-DE" sz="1000" kern="1200" dirty="0">
            <a:solidFill>
              <a:schemeClr val="tx1"/>
            </a:solidFill>
          </a:endParaRPr>
        </a:p>
      </dgm:t>
    </dgm:pt>
    <dgm:pt modelId="{7F316114-2989-4029-B3FC-0AA188EC42E2}" type="parTrans" cxnId="{D2B5FDD1-EF1D-48F8-8AC1-7F603B6C9228}">
      <dgm:prSet/>
      <dgm:spPr/>
      <dgm:t>
        <a:bodyPr/>
        <a:lstStyle/>
        <a:p>
          <a:endParaRPr lang="en-US"/>
        </a:p>
      </dgm:t>
    </dgm:pt>
    <dgm:pt modelId="{E0EFC91C-D6F3-4D78-B1A4-D50248459D69}" type="sibTrans" cxnId="{D2B5FDD1-EF1D-48F8-8AC1-7F603B6C9228}">
      <dgm:prSet/>
      <dgm:spPr>
        <a:solidFill>
          <a:srgbClr val="0092D2">
            <a:alpha val="85000"/>
          </a:srgbClr>
        </a:solidFill>
        <a:ln>
          <a:noFill/>
        </a:ln>
      </dgm:spPr>
      <dgm:t>
        <a:bodyPr/>
        <a:lstStyle/>
        <a:p>
          <a:endParaRPr lang="en-US"/>
        </a:p>
      </dgm:t>
    </dgm:pt>
    <dgm:pt modelId="{CE40241C-583E-4495-B11D-93F825F2BB7D}">
      <dgm:prSet custT="1"/>
      <dgm:spPr>
        <a:solidFill>
          <a:srgbClr val="D3F1FC"/>
        </a:solidFill>
        <a:ln w="12700" cap="flat" cmpd="sng" algn="ctr">
          <a:solidFill>
            <a:srgbClr val="0BA2E3"/>
          </a:solidFill>
          <a:prstDash val="solid"/>
        </a:ln>
        <a:effectLst/>
      </dgm:spPr>
      <dgm:t>
        <a:bodyPr spcFirstLastPara="0" vert="horz" wrap="square" lIns="12700" tIns="12700" rIns="12700" bIns="12700" numCol="1" spcCol="1270" anchor="ctr" anchorCtr="0"/>
        <a:lstStyle/>
        <a:p>
          <a:r>
            <a:rPr lang="en-GB" sz="1000" kern="1200" dirty="0" err="1">
              <a:solidFill>
                <a:schemeClr val="tx1"/>
              </a:solidFill>
              <a:sym typeface="Wingdings" panose="05000000000000000000" pitchFamily="2" charset="2"/>
            </a:rPr>
            <a:t>Asynchro</a:t>
          </a: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-nous and </a:t>
          </a:r>
          <a:r>
            <a:rPr lang="en-GB" sz="1000" kern="1200" dirty="0">
              <a:solidFill>
                <a:prstClr val="black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highly</a:t>
          </a: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 available</a:t>
          </a:r>
        </a:p>
      </dgm:t>
    </dgm:pt>
    <dgm:pt modelId="{FC9B355B-F45A-433D-B93A-67997980B6C3}" type="parTrans" cxnId="{8D754141-A589-4CC9-9524-185799C1B0E3}">
      <dgm:prSet/>
      <dgm:spPr/>
      <dgm:t>
        <a:bodyPr/>
        <a:lstStyle/>
        <a:p>
          <a:endParaRPr lang="en-GB"/>
        </a:p>
      </dgm:t>
    </dgm:pt>
    <dgm:pt modelId="{AA051C5F-8DDF-4172-9B4F-3206F34E7945}" type="sibTrans" cxnId="{8D754141-A589-4CC9-9524-185799C1B0E3}">
      <dgm:prSet/>
      <dgm:spPr>
        <a:solidFill>
          <a:srgbClr val="0092D2">
            <a:alpha val="85000"/>
          </a:srgbClr>
        </a:solidFill>
        <a:ln>
          <a:noFill/>
        </a:ln>
        <a:effectLst/>
      </dgm:spPr>
      <dgm:t>
        <a:bodyPr/>
        <a:lstStyle/>
        <a:p>
          <a:endParaRPr lang="en-GB"/>
        </a:p>
      </dgm:t>
    </dgm:pt>
    <dgm:pt modelId="{142131CF-B7AC-4AAF-8200-0B4F6A204D9C}">
      <dgm:prSet/>
      <dgm:spPr/>
      <dgm:t>
        <a:bodyPr/>
        <a:lstStyle/>
        <a:p>
          <a:endParaRPr lang="en-GB"/>
        </a:p>
      </dgm:t>
    </dgm:pt>
    <dgm:pt modelId="{10193C45-90D1-4F0A-BB75-2C74480E4478}" type="parTrans" cxnId="{DE043BC9-C273-46F4-8EA2-087BC2F4E463}">
      <dgm:prSet/>
      <dgm:spPr/>
      <dgm:t>
        <a:bodyPr/>
        <a:lstStyle/>
        <a:p>
          <a:endParaRPr lang="en-GB"/>
        </a:p>
      </dgm:t>
    </dgm:pt>
    <dgm:pt modelId="{31FE0090-F053-432F-AEED-EC063FCA8283}" type="sibTrans" cxnId="{DE043BC9-C273-46F4-8EA2-087BC2F4E463}">
      <dgm:prSet/>
      <dgm:spPr/>
      <dgm:t>
        <a:bodyPr/>
        <a:lstStyle/>
        <a:p>
          <a:endParaRPr lang="en-GB"/>
        </a:p>
      </dgm:t>
    </dgm:pt>
    <dgm:pt modelId="{11CB0914-2003-47B3-ADC4-D7E04D110DF5}">
      <dgm:prSet/>
      <dgm:spPr/>
      <dgm:t>
        <a:bodyPr/>
        <a:lstStyle/>
        <a:p>
          <a:endParaRPr lang="en-GB"/>
        </a:p>
      </dgm:t>
    </dgm:pt>
    <dgm:pt modelId="{536287F6-6618-4804-943C-A27C3A793DA0}" type="parTrans" cxnId="{406C1D06-71DD-4601-B1CE-A9297FA875DC}">
      <dgm:prSet/>
      <dgm:spPr/>
      <dgm:t>
        <a:bodyPr/>
        <a:lstStyle/>
        <a:p>
          <a:endParaRPr lang="en-GB"/>
        </a:p>
      </dgm:t>
    </dgm:pt>
    <dgm:pt modelId="{08C34777-8016-4997-8CFD-489C983D9194}" type="sibTrans" cxnId="{406C1D06-71DD-4601-B1CE-A9297FA875DC}">
      <dgm:prSet/>
      <dgm:spPr/>
      <dgm:t>
        <a:bodyPr/>
        <a:lstStyle/>
        <a:p>
          <a:endParaRPr lang="en-GB"/>
        </a:p>
      </dgm:t>
    </dgm:pt>
    <dgm:pt modelId="{925A45B1-10B1-4788-B94F-6481BAC90143}">
      <dgm:prSet/>
      <dgm:spPr/>
      <dgm:t>
        <a:bodyPr/>
        <a:lstStyle/>
        <a:p>
          <a:endParaRPr lang="en-GB"/>
        </a:p>
      </dgm:t>
    </dgm:pt>
    <dgm:pt modelId="{EA0A953A-64FA-49B6-8161-AC2E2E4FD697}" type="parTrans" cxnId="{8B6C5384-B3A3-4BCF-ACE9-C61C3B5EAC5A}">
      <dgm:prSet/>
      <dgm:spPr/>
      <dgm:t>
        <a:bodyPr/>
        <a:lstStyle/>
        <a:p>
          <a:endParaRPr lang="en-GB"/>
        </a:p>
      </dgm:t>
    </dgm:pt>
    <dgm:pt modelId="{372C4534-97A8-4458-8F53-2E6FA6068FE1}" type="sibTrans" cxnId="{8B6C5384-B3A3-4BCF-ACE9-C61C3B5EAC5A}">
      <dgm:prSet/>
      <dgm:spPr/>
      <dgm:t>
        <a:bodyPr/>
        <a:lstStyle/>
        <a:p>
          <a:endParaRPr lang="en-GB"/>
        </a:p>
      </dgm:t>
    </dgm:pt>
    <dgm:pt modelId="{C042A263-1100-4D16-8647-5AB68A414C5C}">
      <dgm:prSet/>
      <dgm:spPr/>
      <dgm:t>
        <a:bodyPr/>
        <a:lstStyle/>
        <a:p>
          <a:endParaRPr lang="en-GB"/>
        </a:p>
      </dgm:t>
    </dgm:pt>
    <dgm:pt modelId="{260A22BF-C8F8-4426-9471-A887DF9D7539}" type="parTrans" cxnId="{7DD010C1-3059-4B17-A5E4-A043AA1EDC02}">
      <dgm:prSet/>
      <dgm:spPr/>
      <dgm:t>
        <a:bodyPr/>
        <a:lstStyle/>
        <a:p>
          <a:endParaRPr lang="en-GB"/>
        </a:p>
      </dgm:t>
    </dgm:pt>
    <dgm:pt modelId="{207FD596-452C-484A-9869-D5756BF4DE71}" type="sibTrans" cxnId="{7DD010C1-3059-4B17-A5E4-A043AA1EDC02}">
      <dgm:prSet/>
      <dgm:spPr/>
      <dgm:t>
        <a:bodyPr/>
        <a:lstStyle/>
        <a:p>
          <a:endParaRPr lang="en-GB"/>
        </a:p>
      </dgm:t>
    </dgm:pt>
    <dgm:pt modelId="{FF591AB6-1BC3-471F-90DB-976F130FDA94}">
      <dgm:prSet phldrT="[Text]" custT="1"/>
      <dgm:spPr>
        <a:solidFill>
          <a:srgbClr val="D8D8D8"/>
        </a:solidFill>
        <a:ln w="12700" cap="flat" cmpd="sng" algn="ctr">
          <a:solidFill>
            <a:schemeClr val="accent1"/>
          </a:solidFill>
          <a:prstDash val="solid"/>
        </a:ln>
        <a:effectLst/>
      </dgm:spPr>
      <dgm:t>
        <a:bodyPr spcFirstLastPara="0" vert="horz" wrap="square" lIns="12700" tIns="12700" rIns="12700" bIns="12700" numCol="1" spcCol="1270" anchor="ctr" anchorCtr="0"/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schemeClr val="bg1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Modular and extensible</a:t>
          </a:r>
        </a:p>
      </dgm:t>
    </dgm:pt>
    <dgm:pt modelId="{3803C5A6-CA17-4A43-98DA-A324721EA0E0}" type="parTrans" cxnId="{CF2AF388-1EF3-4670-9731-96635003EBA4}">
      <dgm:prSet/>
      <dgm:spPr/>
      <dgm:t>
        <a:bodyPr/>
        <a:lstStyle/>
        <a:p>
          <a:endParaRPr lang="en-GB"/>
        </a:p>
      </dgm:t>
    </dgm:pt>
    <dgm:pt modelId="{4246557B-6084-4AC4-8C32-072EE5A47E4D}" type="sibTrans" cxnId="{CF2AF388-1EF3-4670-9731-96635003EBA4}">
      <dgm:prSet/>
      <dgm:spPr>
        <a:solidFill>
          <a:srgbClr val="0092D2">
            <a:alpha val="85000"/>
          </a:srgbClr>
        </a:solidFill>
        <a:ln>
          <a:noFill/>
        </a:ln>
        <a:effectLst/>
      </dgm:spPr>
      <dgm:t>
        <a:bodyPr/>
        <a:lstStyle/>
        <a:p>
          <a:endParaRPr lang="en-GB"/>
        </a:p>
      </dgm:t>
    </dgm:pt>
    <dgm:pt modelId="{AD7C415B-5257-4BEE-97CD-851F8A68ADF1}" type="pres">
      <dgm:prSet presAssocID="{6DF9EA4E-5FBC-4645-BE80-060B08D93E9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64EA795-28DD-406F-B9E5-58A51A84B47E}" type="pres">
      <dgm:prSet presAssocID="{687A981D-21CB-4428-9BFC-D211A2F14496}" presName="gear1" presStyleLbl="node1" presStyleIdx="0" presStyleCnt="3">
        <dgm:presLayoutVars>
          <dgm:chMax val="1"/>
          <dgm:bulletEnabled val="1"/>
        </dgm:presLayoutVars>
      </dgm:prSet>
      <dgm:spPr/>
    </dgm:pt>
    <dgm:pt modelId="{8CAD2D48-8375-456B-8FDB-9B7AA5E9758C}" type="pres">
      <dgm:prSet presAssocID="{687A981D-21CB-4428-9BFC-D211A2F14496}" presName="gear1srcNode" presStyleLbl="node1" presStyleIdx="0" presStyleCnt="3"/>
      <dgm:spPr/>
    </dgm:pt>
    <dgm:pt modelId="{539BC399-FCE1-4725-A4B1-8DC92EF00931}" type="pres">
      <dgm:prSet presAssocID="{687A981D-21CB-4428-9BFC-D211A2F14496}" presName="gear1dstNode" presStyleLbl="node1" presStyleIdx="0" presStyleCnt="3"/>
      <dgm:spPr/>
    </dgm:pt>
    <dgm:pt modelId="{518FCE5A-52CC-4114-9D15-94CA97B05A30}" type="pres">
      <dgm:prSet presAssocID="{CE40241C-583E-4495-B11D-93F825F2BB7D}" presName="gear2" presStyleLbl="node1" presStyleIdx="1" presStyleCnt="3">
        <dgm:presLayoutVars>
          <dgm:chMax val="1"/>
          <dgm:bulletEnabled val="1"/>
        </dgm:presLayoutVars>
      </dgm:prSet>
      <dgm:spPr>
        <a:xfrm>
          <a:off x="786166" y="976363"/>
          <a:ext cx="1220454" cy="1220454"/>
        </a:xfrm>
        <a:prstGeom prst="gear6">
          <a:avLst/>
        </a:prstGeom>
      </dgm:spPr>
    </dgm:pt>
    <dgm:pt modelId="{0B91BC60-B11A-491A-AE2B-411A08CB4920}" type="pres">
      <dgm:prSet presAssocID="{CE40241C-583E-4495-B11D-93F825F2BB7D}" presName="gear2srcNode" presStyleLbl="node1" presStyleIdx="1" presStyleCnt="3"/>
      <dgm:spPr/>
    </dgm:pt>
    <dgm:pt modelId="{876B31D1-18E6-494D-90A4-A216BE093098}" type="pres">
      <dgm:prSet presAssocID="{CE40241C-583E-4495-B11D-93F825F2BB7D}" presName="gear2dstNode" presStyleLbl="node1" presStyleIdx="1" presStyleCnt="3"/>
      <dgm:spPr/>
    </dgm:pt>
    <dgm:pt modelId="{3A67FEDC-EF38-4689-B1A9-322871A4AEA0}" type="pres">
      <dgm:prSet presAssocID="{FF591AB6-1BC3-471F-90DB-976F130FDA94}" presName="gear3" presStyleLbl="node1" presStyleIdx="2" presStyleCnt="3"/>
      <dgm:spPr>
        <a:xfrm rot="20700000">
          <a:off x="1469745" y="134374"/>
          <a:ext cx="1195796" cy="1195796"/>
        </a:xfrm>
        <a:prstGeom prst="gear6">
          <a:avLst/>
        </a:prstGeom>
      </dgm:spPr>
    </dgm:pt>
    <dgm:pt modelId="{CDDF21E8-CBA5-49AF-9138-4484B4177A7C}" type="pres">
      <dgm:prSet presAssocID="{FF591AB6-1BC3-471F-90DB-976F130FDA94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1DB5CACB-301C-4201-B72B-121741F8D752}" type="pres">
      <dgm:prSet presAssocID="{FF591AB6-1BC3-471F-90DB-976F130FDA94}" presName="gear3srcNode" presStyleLbl="node1" presStyleIdx="2" presStyleCnt="3"/>
      <dgm:spPr/>
    </dgm:pt>
    <dgm:pt modelId="{F23266A7-E4E2-44C0-B8C0-F1AF4AE333B3}" type="pres">
      <dgm:prSet presAssocID="{FF591AB6-1BC3-471F-90DB-976F130FDA94}" presName="gear3dstNode" presStyleLbl="node1" presStyleIdx="2" presStyleCnt="3"/>
      <dgm:spPr/>
    </dgm:pt>
    <dgm:pt modelId="{3E19053F-BAC6-4D46-A39C-19FA9AAFE77D}" type="pres">
      <dgm:prSet presAssocID="{E0EFC91C-D6F3-4D78-B1A4-D50248459D69}" presName="connector1" presStyleLbl="sibTrans2D1" presStyleIdx="0" presStyleCnt="3"/>
      <dgm:spPr/>
    </dgm:pt>
    <dgm:pt modelId="{94E30E08-9F50-40F2-9BAA-F3162747CE44}" type="pres">
      <dgm:prSet presAssocID="{AA051C5F-8DDF-4172-9B4F-3206F34E7945}" presName="connector2" presStyleLbl="sibTrans2D1" presStyleIdx="1" presStyleCnt="3"/>
      <dgm:spPr>
        <a:xfrm>
          <a:off x="570026" y="711229"/>
          <a:ext cx="1560656" cy="1560656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</dgm:spPr>
    </dgm:pt>
    <dgm:pt modelId="{74005D3F-9221-42F5-A157-F2D8605EA847}" type="pres">
      <dgm:prSet presAssocID="{4246557B-6084-4AC4-8C32-072EE5A47E4D}" presName="connector3" presStyleLbl="sibTrans2D1" presStyleIdx="2" presStyleCnt="3"/>
      <dgm:spPr>
        <a:xfrm>
          <a:off x="1193145" y="-122643"/>
          <a:ext cx="1682702" cy="1682702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</dgm:spPr>
    </dgm:pt>
  </dgm:ptLst>
  <dgm:cxnLst>
    <dgm:cxn modelId="{406C1D06-71DD-4601-B1CE-A9297FA875DC}" srcId="{6DF9EA4E-5FBC-4645-BE80-060B08D93E94}" destId="{11CB0914-2003-47B3-ADC4-D7E04D110DF5}" srcOrd="4" destOrd="0" parTransId="{536287F6-6618-4804-943C-A27C3A793DA0}" sibTransId="{08C34777-8016-4997-8CFD-489C983D9194}"/>
    <dgm:cxn modelId="{8E8D6B19-A40D-4B00-BEF5-51109CDE8459}" type="presOf" srcId="{FF591AB6-1BC3-471F-90DB-976F130FDA94}" destId="{CDDF21E8-CBA5-49AF-9138-4484B4177A7C}" srcOrd="1" destOrd="0" presId="urn:microsoft.com/office/officeart/2005/8/layout/gear1"/>
    <dgm:cxn modelId="{8D754141-A589-4CC9-9524-185799C1B0E3}" srcId="{6DF9EA4E-5FBC-4645-BE80-060B08D93E94}" destId="{CE40241C-583E-4495-B11D-93F825F2BB7D}" srcOrd="1" destOrd="0" parTransId="{FC9B355B-F45A-433D-B93A-67997980B6C3}" sibTransId="{AA051C5F-8DDF-4172-9B4F-3206F34E7945}"/>
    <dgm:cxn modelId="{2A32F362-52CB-40C8-A1AD-0C6720374401}" type="presOf" srcId="{687A981D-21CB-4428-9BFC-D211A2F14496}" destId="{8CAD2D48-8375-456B-8FDB-9B7AA5E9758C}" srcOrd="1" destOrd="0" presId="urn:microsoft.com/office/officeart/2005/8/layout/gear1"/>
    <dgm:cxn modelId="{24FD8F6A-B12C-440A-8EAD-A5A319E30263}" type="presOf" srcId="{687A981D-21CB-4428-9BFC-D211A2F14496}" destId="{539BC399-FCE1-4725-A4B1-8DC92EF00931}" srcOrd="2" destOrd="0" presId="urn:microsoft.com/office/officeart/2005/8/layout/gear1"/>
    <dgm:cxn modelId="{C4ACF74E-04BC-4B2C-A173-45E1ED39DCD0}" type="presOf" srcId="{FF591AB6-1BC3-471F-90DB-976F130FDA94}" destId="{3A67FEDC-EF38-4689-B1A9-322871A4AEA0}" srcOrd="0" destOrd="0" presId="urn:microsoft.com/office/officeart/2005/8/layout/gear1"/>
    <dgm:cxn modelId="{44422775-7FD3-4945-9FB5-1415CEBEC698}" type="presOf" srcId="{FF591AB6-1BC3-471F-90DB-976F130FDA94}" destId="{F23266A7-E4E2-44C0-B8C0-F1AF4AE333B3}" srcOrd="3" destOrd="0" presId="urn:microsoft.com/office/officeart/2005/8/layout/gear1"/>
    <dgm:cxn modelId="{F26AEF75-265D-4980-ABA0-19E6F17E7145}" type="presOf" srcId="{AA051C5F-8DDF-4172-9B4F-3206F34E7945}" destId="{94E30E08-9F50-40F2-9BAA-F3162747CE44}" srcOrd="0" destOrd="0" presId="urn:microsoft.com/office/officeart/2005/8/layout/gear1"/>
    <dgm:cxn modelId="{2C03CC83-7D42-4924-8013-DB82925180F6}" type="presOf" srcId="{FF591AB6-1BC3-471F-90DB-976F130FDA94}" destId="{1DB5CACB-301C-4201-B72B-121741F8D752}" srcOrd="2" destOrd="0" presId="urn:microsoft.com/office/officeart/2005/8/layout/gear1"/>
    <dgm:cxn modelId="{8B6C5384-B3A3-4BCF-ACE9-C61C3B5EAC5A}" srcId="{6DF9EA4E-5FBC-4645-BE80-060B08D93E94}" destId="{925A45B1-10B1-4788-B94F-6481BAC90143}" srcOrd="5" destOrd="0" parTransId="{EA0A953A-64FA-49B6-8161-AC2E2E4FD697}" sibTransId="{372C4534-97A8-4458-8F53-2E6FA6068FE1}"/>
    <dgm:cxn modelId="{CF2AF388-1EF3-4670-9731-96635003EBA4}" srcId="{6DF9EA4E-5FBC-4645-BE80-060B08D93E94}" destId="{FF591AB6-1BC3-471F-90DB-976F130FDA94}" srcOrd="2" destOrd="0" parTransId="{3803C5A6-CA17-4A43-98DA-A324721EA0E0}" sibTransId="{4246557B-6084-4AC4-8C32-072EE5A47E4D}"/>
    <dgm:cxn modelId="{F0CFF891-B7C7-47D6-8153-5184BED49652}" type="presOf" srcId="{CE40241C-583E-4495-B11D-93F825F2BB7D}" destId="{518FCE5A-52CC-4114-9D15-94CA97B05A30}" srcOrd="0" destOrd="0" presId="urn:microsoft.com/office/officeart/2005/8/layout/gear1"/>
    <dgm:cxn modelId="{7DD010C1-3059-4B17-A5E4-A043AA1EDC02}" srcId="{6DF9EA4E-5FBC-4645-BE80-060B08D93E94}" destId="{C042A263-1100-4D16-8647-5AB68A414C5C}" srcOrd="6" destOrd="0" parTransId="{260A22BF-C8F8-4426-9471-A887DF9D7539}" sibTransId="{207FD596-452C-484A-9869-D5756BF4DE71}"/>
    <dgm:cxn modelId="{C56179C5-BB39-4867-93C4-FBD32883EFDE}" type="presOf" srcId="{CE40241C-583E-4495-B11D-93F825F2BB7D}" destId="{876B31D1-18E6-494D-90A4-A216BE093098}" srcOrd="2" destOrd="0" presId="urn:microsoft.com/office/officeart/2005/8/layout/gear1"/>
    <dgm:cxn modelId="{DE043BC9-C273-46F4-8EA2-087BC2F4E463}" srcId="{6DF9EA4E-5FBC-4645-BE80-060B08D93E94}" destId="{142131CF-B7AC-4AAF-8200-0B4F6A204D9C}" srcOrd="3" destOrd="0" parTransId="{10193C45-90D1-4F0A-BB75-2C74480E4478}" sibTransId="{31FE0090-F053-432F-AEED-EC063FCA8283}"/>
    <dgm:cxn modelId="{4D863ACE-2477-4279-BE60-52DDECF7F3D1}" type="presOf" srcId="{6DF9EA4E-5FBC-4645-BE80-060B08D93E94}" destId="{AD7C415B-5257-4BEE-97CD-851F8A68ADF1}" srcOrd="0" destOrd="0" presId="urn:microsoft.com/office/officeart/2005/8/layout/gear1"/>
    <dgm:cxn modelId="{D2B5FDD1-EF1D-48F8-8AC1-7F603B6C9228}" srcId="{6DF9EA4E-5FBC-4645-BE80-060B08D93E94}" destId="{687A981D-21CB-4428-9BFC-D211A2F14496}" srcOrd="0" destOrd="0" parTransId="{7F316114-2989-4029-B3FC-0AA188EC42E2}" sibTransId="{E0EFC91C-D6F3-4D78-B1A4-D50248459D69}"/>
    <dgm:cxn modelId="{929D3CE4-621B-4F69-8E28-67A33DAEA1B3}" type="presOf" srcId="{4246557B-6084-4AC4-8C32-072EE5A47E4D}" destId="{74005D3F-9221-42F5-A157-F2D8605EA847}" srcOrd="0" destOrd="0" presId="urn:microsoft.com/office/officeart/2005/8/layout/gear1"/>
    <dgm:cxn modelId="{603B04E9-DA57-432F-A737-25F73EC50582}" type="presOf" srcId="{687A981D-21CB-4428-9BFC-D211A2F14496}" destId="{D64EA795-28DD-406F-B9E5-58A51A84B47E}" srcOrd="0" destOrd="0" presId="urn:microsoft.com/office/officeart/2005/8/layout/gear1"/>
    <dgm:cxn modelId="{3FB9ABF2-B298-4CE5-8747-743F4E10F7DA}" type="presOf" srcId="{CE40241C-583E-4495-B11D-93F825F2BB7D}" destId="{0B91BC60-B11A-491A-AE2B-411A08CB4920}" srcOrd="1" destOrd="0" presId="urn:microsoft.com/office/officeart/2005/8/layout/gear1"/>
    <dgm:cxn modelId="{B27467F3-5B0A-4C89-9A0F-C5A03817E681}" type="presOf" srcId="{E0EFC91C-D6F3-4D78-B1A4-D50248459D69}" destId="{3E19053F-BAC6-4D46-A39C-19FA9AAFE77D}" srcOrd="0" destOrd="0" presId="urn:microsoft.com/office/officeart/2005/8/layout/gear1"/>
    <dgm:cxn modelId="{2BCE796C-E64E-48D1-991B-D6EDFC8C61DD}" type="presParOf" srcId="{AD7C415B-5257-4BEE-97CD-851F8A68ADF1}" destId="{D64EA795-28DD-406F-B9E5-58A51A84B47E}" srcOrd="0" destOrd="0" presId="urn:microsoft.com/office/officeart/2005/8/layout/gear1"/>
    <dgm:cxn modelId="{DFA51158-DD94-44C7-BE14-DB2E05EC6BF8}" type="presParOf" srcId="{AD7C415B-5257-4BEE-97CD-851F8A68ADF1}" destId="{8CAD2D48-8375-456B-8FDB-9B7AA5E9758C}" srcOrd="1" destOrd="0" presId="urn:microsoft.com/office/officeart/2005/8/layout/gear1"/>
    <dgm:cxn modelId="{D8A05520-5E03-4C1F-A3A1-F6DB4A8E7B6F}" type="presParOf" srcId="{AD7C415B-5257-4BEE-97CD-851F8A68ADF1}" destId="{539BC399-FCE1-4725-A4B1-8DC92EF00931}" srcOrd="2" destOrd="0" presId="urn:microsoft.com/office/officeart/2005/8/layout/gear1"/>
    <dgm:cxn modelId="{A3F2B0C1-2F8D-43E5-852C-9447D9421197}" type="presParOf" srcId="{AD7C415B-5257-4BEE-97CD-851F8A68ADF1}" destId="{518FCE5A-52CC-4114-9D15-94CA97B05A30}" srcOrd="3" destOrd="0" presId="urn:microsoft.com/office/officeart/2005/8/layout/gear1"/>
    <dgm:cxn modelId="{CA67722D-0F01-43C3-88C8-7FACE2135EBA}" type="presParOf" srcId="{AD7C415B-5257-4BEE-97CD-851F8A68ADF1}" destId="{0B91BC60-B11A-491A-AE2B-411A08CB4920}" srcOrd="4" destOrd="0" presId="urn:microsoft.com/office/officeart/2005/8/layout/gear1"/>
    <dgm:cxn modelId="{56E78B3E-8D07-4C57-9FB2-C5CEEE901134}" type="presParOf" srcId="{AD7C415B-5257-4BEE-97CD-851F8A68ADF1}" destId="{876B31D1-18E6-494D-90A4-A216BE093098}" srcOrd="5" destOrd="0" presId="urn:microsoft.com/office/officeart/2005/8/layout/gear1"/>
    <dgm:cxn modelId="{570D8405-54B7-4D08-B986-BF23C0698350}" type="presParOf" srcId="{AD7C415B-5257-4BEE-97CD-851F8A68ADF1}" destId="{3A67FEDC-EF38-4689-B1A9-322871A4AEA0}" srcOrd="6" destOrd="0" presId="urn:microsoft.com/office/officeart/2005/8/layout/gear1"/>
    <dgm:cxn modelId="{F9C6D970-32A8-4927-85D0-ADBCA8A9CB1E}" type="presParOf" srcId="{AD7C415B-5257-4BEE-97CD-851F8A68ADF1}" destId="{CDDF21E8-CBA5-49AF-9138-4484B4177A7C}" srcOrd="7" destOrd="0" presId="urn:microsoft.com/office/officeart/2005/8/layout/gear1"/>
    <dgm:cxn modelId="{4424E417-CA1A-4443-91EA-069A557AA42D}" type="presParOf" srcId="{AD7C415B-5257-4BEE-97CD-851F8A68ADF1}" destId="{1DB5CACB-301C-4201-B72B-121741F8D752}" srcOrd="8" destOrd="0" presId="urn:microsoft.com/office/officeart/2005/8/layout/gear1"/>
    <dgm:cxn modelId="{46BBF1BA-A6EB-4152-9F97-6624A2A1F971}" type="presParOf" srcId="{AD7C415B-5257-4BEE-97CD-851F8A68ADF1}" destId="{F23266A7-E4E2-44C0-B8C0-F1AF4AE333B3}" srcOrd="9" destOrd="0" presId="urn:microsoft.com/office/officeart/2005/8/layout/gear1"/>
    <dgm:cxn modelId="{9AA0A31C-399E-477D-B2BD-EAE105E02F9B}" type="presParOf" srcId="{AD7C415B-5257-4BEE-97CD-851F8A68ADF1}" destId="{3E19053F-BAC6-4D46-A39C-19FA9AAFE77D}" srcOrd="10" destOrd="0" presId="urn:microsoft.com/office/officeart/2005/8/layout/gear1"/>
    <dgm:cxn modelId="{E79172AD-6773-4802-A97E-8A22F75B3B48}" type="presParOf" srcId="{AD7C415B-5257-4BEE-97CD-851F8A68ADF1}" destId="{94E30E08-9F50-40F2-9BAA-F3162747CE44}" srcOrd="11" destOrd="0" presId="urn:microsoft.com/office/officeart/2005/8/layout/gear1"/>
    <dgm:cxn modelId="{2CF5C507-22CB-432B-987F-75437AD5FED8}" type="presParOf" srcId="{AD7C415B-5257-4BEE-97CD-851F8A68ADF1}" destId="{74005D3F-9221-42F5-A157-F2D8605EA847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F9EA4E-5FBC-4645-BE80-060B08D93E94}" type="doc">
      <dgm:prSet loTypeId="urn:microsoft.com/office/officeart/2005/8/layout/gear1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42131CF-B7AC-4AAF-8200-0B4F6A204D9C}">
      <dgm:prSet custT="1"/>
      <dgm:spPr>
        <a:solidFill>
          <a:srgbClr val="D3F1FC"/>
        </a:solidFill>
        <a:ln w="12700" cap="flat" cmpd="sng" algn="ctr">
          <a:solidFill>
            <a:srgbClr val="0BA2E3"/>
          </a:solidFill>
          <a:prstDash val="solid"/>
        </a:ln>
        <a:effectLst/>
      </dgm:spPr>
      <dgm:t>
        <a:bodyPr spcFirstLastPara="0" vert="horz" wrap="square" lIns="12700" tIns="12700" rIns="12700" bIns="12700" numCol="1" spcCol="1270" anchor="ctr" anchorCtr="0"/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prstClr val="black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System security (using e.g. vaults and encryption)</a:t>
          </a:r>
        </a:p>
      </dgm:t>
    </dgm:pt>
    <dgm:pt modelId="{10193C45-90D1-4F0A-BB75-2C74480E4478}" type="parTrans" cxnId="{DE043BC9-C273-46F4-8EA2-087BC2F4E463}">
      <dgm:prSet/>
      <dgm:spPr/>
      <dgm:t>
        <a:bodyPr/>
        <a:lstStyle/>
        <a:p>
          <a:endParaRPr lang="en-GB"/>
        </a:p>
      </dgm:t>
    </dgm:pt>
    <dgm:pt modelId="{31FE0090-F053-432F-AEED-EC063FCA8283}" type="sibTrans" cxnId="{DE043BC9-C273-46F4-8EA2-087BC2F4E463}">
      <dgm:prSet/>
      <dgm:spPr>
        <a:solidFill>
          <a:srgbClr val="0092D2">
            <a:alpha val="85000"/>
          </a:srgbClr>
        </a:solidFill>
        <a:ln>
          <a:noFill/>
        </a:ln>
        <a:effectLst/>
      </dgm:spPr>
      <dgm:t>
        <a:bodyPr/>
        <a:lstStyle/>
        <a:p>
          <a:endParaRPr lang="en-GB"/>
        </a:p>
      </dgm:t>
    </dgm:pt>
    <dgm:pt modelId="{925A45B1-10B1-4788-B94F-6481BAC90143}">
      <dgm:prSet custT="1"/>
      <dgm:spPr>
        <a:solidFill>
          <a:srgbClr val="D8D8D8"/>
        </a:solidFill>
        <a:ln w="12700" cap="flat" cmpd="sng" algn="ctr">
          <a:solidFill>
            <a:schemeClr val="accent1"/>
          </a:solidFill>
          <a:prstDash val="solid"/>
        </a:ln>
        <a:effectLst/>
      </dgm:spPr>
      <dgm:t>
        <a:bodyPr spcFirstLastPara="0" vert="horz" wrap="square" lIns="12700" tIns="12700" rIns="12700" bIns="12700" numCol="1" spcCol="1270" anchor="ctr" anchorCtr="0"/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schemeClr val="bg1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Cloud-aware policy enforcement </a:t>
          </a:r>
        </a:p>
      </dgm:t>
    </dgm:pt>
    <dgm:pt modelId="{EA0A953A-64FA-49B6-8161-AC2E2E4FD697}" type="parTrans" cxnId="{8B6C5384-B3A3-4BCF-ACE9-C61C3B5EAC5A}">
      <dgm:prSet/>
      <dgm:spPr/>
      <dgm:t>
        <a:bodyPr/>
        <a:lstStyle/>
        <a:p>
          <a:endParaRPr lang="en-GB"/>
        </a:p>
      </dgm:t>
    </dgm:pt>
    <dgm:pt modelId="{372C4534-97A8-4458-8F53-2E6FA6068FE1}" type="sibTrans" cxnId="{8B6C5384-B3A3-4BCF-ACE9-C61C3B5EAC5A}">
      <dgm:prSet/>
      <dgm:spPr>
        <a:solidFill>
          <a:srgbClr val="0092D2">
            <a:alpha val="85000"/>
          </a:srgbClr>
        </a:solidFill>
        <a:ln>
          <a:noFill/>
        </a:ln>
        <a:effectLst/>
      </dgm:spPr>
      <dgm:t>
        <a:bodyPr/>
        <a:lstStyle/>
        <a:p>
          <a:endParaRPr lang="en-GB"/>
        </a:p>
      </dgm:t>
    </dgm:pt>
    <dgm:pt modelId="{44E50B6D-EB3D-451A-BF45-98EB31C8444B}">
      <dgm:prSet custT="1"/>
      <dgm:spPr>
        <a:solidFill>
          <a:srgbClr val="D3F1FC"/>
        </a:solidFill>
        <a:ln w="12700" cap="flat" cmpd="sng" algn="ctr">
          <a:solidFill>
            <a:srgbClr val="0BA2E3"/>
          </a:solidFill>
          <a:prstDash val="solid"/>
        </a:ln>
        <a:effectLst/>
      </dgm:spPr>
      <dgm:t>
        <a:bodyPr spcFirstLastPara="0" vert="horz" wrap="square" lIns="12700" tIns="12700" rIns="12700" bIns="12700" numCol="1" spcCol="1270" anchor="ctr" anchorCtr="0"/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prstClr val="black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Fully auditable processes</a:t>
          </a:r>
        </a:p>
      </dgm:t>
    </dgm:pt>
    <dgm:pt modelId="{8BC74F64-92BD-40E6-8676-0221D2AF0DEC}" type="parTrans" cxnId="{281616DE-F198-40C3-B726-602586AF2DC4}">
      <dgm:prSet/>
      <dgm:spPr/>
      <dgm:t>
        <a:bodyPr/>
        <a:lstStyle/>
        <a:p>
          <a:endParaRPr lang="en-GB"/>
        </a:p>
      </dgm:t>
    </dgm:pt>
    <dgm:pt modelId="{B612B5D1-5EFB-4F94-9445-E3BA80E4E851}" type="sibTrans" cxnId="{281616DE-F198-40C3-B726-602586AF2DC4}">
      <dgm:prSet/>
      <dgm:spPr>
        <a:solidFill>
          <a:srgbClr val="0092D2">
            <a:alpha val="85000"/>
          </a:srgbClr>
        </a:solidFill>
        <a:ln>
          <a:noFill/>
        </a:ln>
        <a:effectLst/>
      </dgm:spPr>
      <dgm:t>
        <a:bodyPr/>
        <a:lstStyle/>
        <a:p>
          <a:endParaRPr lang="en-GB"/>
        </a:p>
      </dgm:t>
    </dgm:pt>
    <dgm:pt modelId="{AD7C415B-5257-4BEE-97CD-851F8A68ADF1}" type="pres">
      <dgm:prSet presAssocID="{6DF9EA4E-5FBC-4645-BE80-060B08D93E9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26EC681-EF35-4ED9-BB36-933FF038774A}" type="pres">
      <dgm:prSet presAssocID="{142131CF-B7AC-4AAF-8200-0B4F6A204D9C}" presName="gear1" presStyleLbl="node1" presStyleIdx="0" presStyleCnt="3" custLinFactNeighborY="0">
        <dgm:presLayoutVars>
          <dgm:chMax val="1"/>
          <dgm:bulletEnabled val="1"/>
        </dgm:presLayoutVars>
      </dgm:prSet>
      <dgm:spPr>
        <a:xfrm>
          <a:off x="2505737" y="1950453"/>
          <a:ext cx="2383887" cy="2383887"/>
        </a:xfrm>
        <a:prstGeom prst="gear9">
          <a:avLst/>
        </a:prstGeom>
      </dgm:spPr>
    </dgm:pt>
    <dgm:pt modelId="{5B89D3AC-B78A-4176-BAD2-1D416A0E8F75}" type="pres">
      <dgm:prSet presAssocID="{142131CF-B7AC-4AAF-8200-0B4F6A204D9C}" presName="gear1srcNode" presStyleLbl="node1" presStyleIdx="0" presStyleCnt="3"/>
      <dgm:spPr/>
    </dgm:pt>
    <dgm:pt modelId="{142F1012-5CE3-4BD9-970E-2E1F52E5B1D0}" type="pres">
      <dgm:prSet presAssocID="{142131CF-B7AC-4AAF-8200-0B4F6A204D9C}" presName="gear1dstNode" presStyleLbl="node1" presStyleIdx="0" presStyleCnt="3"/>
      <dgm:spPr/>
    </dgm:pt>
    <dgm:pt modelId="{F0687981-E766-4B28-87B8-BAA7F84945C3}" type="pres">
      <dgm:prSet presAssocID="{44E50B6D-EB3D-451A-BF45-98EB31C8444B}" presName="gear2" presStyleLbl="node1" presStyleIdx="1" presStyleCnt="3">
        <dgm:presLayoutVars>
          <dgm:chMax val="1"/>
          <dgm:bulletEnabled val="1"/>
        </dgm:presLayoutVars>
      </dgm:prSet>
      <dgm:spPr>
        <a:xfrm>
          <a:off x="603677" y="976364"/>
          <a:ext cx="1220455" cy="1220455"/>
        </a:xfrm>
        <a:prstGeom prst="gear6">
          <a:avLst/>
        </a:prstGeom>
      </dgm:spPr>
    </dgm:pt>
    <dgm:pt modelId="{F7CDC5D7-E39E-4BDD-A48F-0C151A295134}" type="pres">
      <dgm:prSet presAssocID="{44E50B6D-EB3D-451A-BF45-98EB31C8444B}" presName="gear2srcNode" presStyleLbl="node1" presStyleIdx="1" presStyleCnt="3"/>
      <dgm:spPr/>
    </dgm:pt>
    <dgm:pt modelId="{A2AB5421-DFB7-43DF-AB2B-93D0C04AEFF0}" type="pres">
      <dgm:prSet presAssocID="{44E50B6D-EB3D-451A-BF45-98EB31C8444B}" presName="gear2dstNode" presStyleLbl="node1" presStyleIdx="1" presStyleCnt="3"/>
      <dgm:spPr/>
    </dgm:pt>
    <dgm:pt modelId="{F580315A-E35D-495D-A18B-498CB16A0D19}" type="pres">
      <dgm:prSet presAssocID="{925A45B1-10B1-4788-B94F-6481BAC90143}" presName="gear3" presStyleLbl="node1" presStyleIdx="2" presStyleCnt="3" custLinFactNeighborX="0" custLinFactNeighborY="0"/>
      <dgm:spPr>
        <a:xfrm rot="20700000">
          <a:off x="1287257" y="134374"/>
          <a:ext cx="1195796" cy="1195796"/>
        </a:xfrm>
        <a:prstGeom prst="gear6">
          <a:avLst/>
        </a:prstGeom>
      </dgm:spPr>
    </dgm:pt>
    <dgm:pt modelId="{8D496A09-99D1-4D36-9D3C-1ADEAE9B39A0}" type="pres">
      <dgm:prSet presAssocID="{925A45B1-10B1-4788-B94F-6481BAC90143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78918517-5C12-4310-AB85-21BF95C7A292}" type="pres">
      <dgm:prSet presAssocID="{925A45B1-10B1-4788-B94F-6481BAC90143}" presName="gear3srcNode" presStyleLbl="node1" presStyleIdx="2" presStyleCnt="3"/>
      <dgm:spPr/>
    </dgm:pt>
    <dgm:pt modelId="{B4E7DEB8-ABD6-453F-93D1-74535EC692A8}" type="pres">
      <dgm:prSet presAssocID="{925A45B1-10B1-4788-B94F-6481BAC90143}" presName="gear3dstNode" presStyleLbl="node1" presStyleIdx="2" presStyleCnt="3"/>
      <dgm:spPr/>
    </dgm:pt>
    <dgm:pt modelId="{D5F6305B-3D3F-4084-BCC5-FEEE7AA523D3}" type="pres">
      <dgm:prSet presAssocID="{31FE0090-F053-432F-AEED-EC063FCA8283}" presName="connector1" presStyleLbl="sibTrans2D1" presStyleIdx="0" presStyleCnt="3"/>
      <dgm:spPr>
        <a:xfrm>
          <a:off x="1438877" y="1126609"/>
          <a:ext cx="2148001" cy="2148001"/>
        </a:xfrm>
        <a:prstGeom prst="circularArrow">
          <a:avLst>
            <a:gd name="adj1" fmla="val 4688"/>
            <a:gd name="adj2" fmla="val 299029"/>
            <a:gd name="adj3" fmla="val 2519459"/>
            <a:gd name="adj4" fmla="val 15854201"/>
            <a:gd name="adj5" fmla="val 5469"/>
          </a:avLst>
        </a:prstGeom>
      </dgm:spPr>
    </dgm:pt>
    <dgm:pt modelId="{C4490E73-95FF-4D33-A974-73B76EB98CCF}" type="pres">
      <dgm:prSet presAssocID="{B612B5D1-5EFB-4F94-9445-E3BA80E4E851}" presName="connector2" presStyleLbl="sibTrans2D1" presStyleIdx="1" presStyleCnt="3"/>
      <dgm:spPr>
        <a:xfrm>
          <a:off x="387537" y="711229"/>
          <a:ext cx="1560657" cy="1560657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</dgm:spPr>
    </dgm:pt>
    <dgm:pt modelId="{44643691-C80E-4928-A441-1E046BC13E71}" type="pres">
      <dgm:prSet presAssocID="{372C4534-97A8-4458-8F53-2E6FA6068FE1}" presName="connector3" presStyleLbl="sibTrans2D1" presStyleIdx="2" presStyleCnt="3"/>
      <dgm:spPr>
        <a:xfrm>
          <a:off x="1010657" y="-122643"/>
          <a:ext cx="1682702" cy="1682702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</dgm:spPr>
    </dgm:pt>
  </dgm:ptLst>
  <dgm:cxnLst>
    <dgm:cxn modelId="{DCF19D05-8D0A-4063-AD90-7EC1B117175F}" type="presOf" srcId="{44E50B6D-EB3D-451A-BF45-98EB31C8444B}" destId="{F7CDC5D7-E39E-4BDD-A48F-0C151A295134}" srcOrd="1" destOrd="0" presId="urn:microsoft.com/office/officeart/2005/8/layout/gear1"/>
    <dgm:cxn modelId="{D9089009-0148-4D16-B9D6-1F2476B9CABC}" type="presOf" srcId="{142131CF-B7AC-4AAF-8200-0B4F6A204D9C}" destId="{5B89D3AC-B78A-4176-BAD2-1D416A0E8F75}" srcOrd="1" destOrd="0" presId="urn:microsoft.com/office/officeart/2005/8/layout/gear1"/>
    <dgm:cxn modelId="{B0987716-AE22-4998-9FA2-E71AB3C6F6D9}" type="presOf" srcId="{925A45B1-10B1-4788-B94F-6481BAC90143}" destId="{F580315A-E35D-495D-A18B-498CB16A0D19}" srcOrd="0" destOrd="0" presId="urn:microsoft.com/office/officeart/2005/8/layout/gear1"/>
    <dgm:cxn modelId="{E7ABE516-DDA1-4FA2-BF83-A8846C527AD3}" type="presOf" srcId="{142131CF-B7AC-4AAF-8200-0B4F6A204D9C}" destId="{142F1012-5CE3-4BD9-970E-2E1F52E5B1D0}" srcOrd="2" destOrd="0" presId="urn:microsoft.com/office/officeart/2005/8/layout/gear1"/>
    <dgm:cxn modelId="{86B7A12F-CDBD-4F4C-9722-A9EBF791B91B}" type="presOf" srcId="{142131CF-B7AC-4AAF-8200-0B4F6A204D9C}" destId="{426EC681-EF35-4ED9-BB36-933FF038774A}" srcOrd="0" destOrd="0" presId="urn:microsoft.com/office/officeart/2005/8/layout/gear1"/>
    <dgm:cxn modelId="{130A3263-CF89-4AD8-B72F-8A8428ED666C}" type="presOf" srcId="{925A45B1-10B1-4788-B94F-6481BAC90143}" destId="{B4E7DEB8-ABD6-453F-93D1-74535EC692A8}" srcOrd="3" destOrd="0" presId="urn:microsoft.com/office/officeart/2005/8/layout/gear1"/>
    <dgm:cxn modelId="{AB866F64-01AA-4F06-87EF-1D84DD606261}" type="presOf" srcId="{372C4534-97A8-4458-8F53-2E6FA6068FE1}" destId="{44643691-C80E-4928-A441-1E046BC13E71}" srcOrd="0" destOrd="0" presId="urn:microsoft.com/office/officeart/2005/8/layout/gear1"/>
    <dgm:cxn modelId="{BC74B576-91E4-454C-BE0B-8C4116DA4A8E}" type="presOf" srcId="{925A45B1-10B1-4788-B94F-6481BAC90143}" destId="{78918517-5C12-4310-AB85-21BF95C7A292}" srcOrd="2" destOrd="0" presId="urn:microsoft.com/office/officeart/2005/8/layout/gear1"/>
    <dgm:cxn modelId="{8B6C5384-B3A3-4BCF-ACE9-C61C3B5EAC5A}" srcId="{6DF9EA4E-5FBC-4645-BE80-060B08D93E94}" destId="{925A45B1-10B1-4788-B94F-6481BAC90143}" srcOrd="2" destOrd="0" parTransId="{EA0A953A-64FA-49B6-8161-AC2E2E4FD697}" sibTransId="{372C4534-97A8-4458-8F53-2E6FA6068FE1}"/>
    <dgm:cxn modelId="{DE043BC9-C273-46F4-8EA2-087BC2F4E463}" srcId="{6DF9EA4E-5FBC-4645-BE80-060B08D93E94}" destId="{142131CF-B7AC-4AAF-8200-0B4F6A204D9C}" srcOrd="0" destOrd="0" parTransId="{10193C45-90D1-4F0A-BB75-2C74480E4478}" sibTransId="{31FE0090-F053-432F-AEED-EC063FCA8283}"/>
    <dgm:cxn modelId="{4D863ACE-2477-4279-BE60-52DDECF7F3D1}" type="presOf" srcId="{6DF9EA4E-5FBC-4645-BE80-060B08D93E94}" destId="{AD7C415B-5257-4BEE-97CD-851F8A68ADF1}" srcOrd="0" destOrd="0" presId="urn:microsoft.com/office/officeart/2005/8/layout/gear1"/>
    <dgm:cxn modelId="{2B1DF3D5-7BEE-443E-9DA0-27A2DBAEE651}" type="presOf" srcId="{B612B5D1-5EFB-4F94-9445-E3BA80E4E851}" destId="{C4490E73-95FF-4D33-A974-73B76EB98CCF}" srcOrd="0" destOrd="0" presId="urn:microsoft.com/office/officeart/2005/8/layout/gear1"/>
    <dgm:cxn modelId="{281616DE-F198-40C3-B726-602586AF2DC4}" srcId="{6DF9EA4E-5FBC-4645-BE80-060B08D93E94}" destId="{44E50B6D-EB3D-451A-BF45-98EB31C8444B}" srcOrd="1" destOrd="0" parTransId="{8BC74F64-92BD-40E6-8676-0221D2AF0DEC}" sibTransId="{B612B5D1-5EFB-4F94-9445-E3BA80E4E851}"/>
    <dgm:cxn modelId="{6937CDDF-44E3-4CA1-B23C-216DA6189930}" type="presOf" srcId="{44E50B6D-EB3D-451A-BF45-98EB31C8444B}" destId="{F0687981-E766-4B28-87B8-BAA7F84945C3}" srcOrd="0" destOrd="0" presId="urn:microsoft.com/office/officeart/2005/8/layout/gear1"/>
    <dgm:cxn modelId="{5EC3BBE6-6BD7-4881-ABA3-4A814189D11E}" type="presOf" srcId="{31FE0090-F053-432F-AEED-EC063FCA8283}" destId="{D5F6305B-3D3F-4084-BCC5-FEEE7AA523D3}" srcOrd="0" destOrd="0" presId="urn:microsoft.com/office/officeart/2005/8/layout/gear1"/>
    <dgm:cxn modelId="{33C732F1-11FB-4F15-B818-C01554E56FF3}" type="presOf" srcId="{44E50B6D-EB3D-451A-BF45-98EB31C8444B}" destId="{A2AB5421-DFB7-43DF-AB2B-93D0C04AEFF0}" srcOrd="2" destOrd="0" presId="urn:microsoft.com/office/officeart/2005/8/layout/gear1"/>
    <dgm:cxn modelId="{A2A948F9-394B-474E-A7DF-C02FD79124CB}" type="presOf" srcId="{925A45B1-10B1-4788-B94F-6481BAC90143}" destId="{8D496A09-99D1-4D36-9D3C-1ADEAE9B39A0}" srcOrd="1" destOrd="0" presId="urn:microsoft.com/office/officeart/2005/8/layout/gear1"/>
    <dgm:cxn modelId="{D93E7DF3-84D3-4AC0-A7EF-DE821AD35DF8}" type="presParOf" srcId="{AD7C415B-5257-4BEE-97CD-851F8A68ADF1}" destId="{426EC681-EF35-4ED9-BB36-933FF038774A}" srcOrd="0" destOrd="0" presId="urn:microsoft.com/office/officeart/2005/8/layout/gear1"/>
    <dgm:cxn modelId="{9A4EB2EB-2EE0-460D-A113-C5D09AE06A47}" type="presParOf" srcId="{AD7C415B-5257-4BEE-97CD-851F8A68ADF1}" destId="{5B89D3AC-B78A-4176-BAD2-1D416A0E8F75}" srcOrd="1" destOrd="0" presId="urn:microsoft.com/office/officeart/2005/8/layout/gear1"/>
    <dgm:cxn modelId="{1DBCCF37-E700-4AE6-A754-DF4F13CC242D}" type="presParOf" srcId="{AD7C415B-5257-4BEE-97CD-851F8A68ADF1}" destId="{142F1012-5CE3-4BD9-970E-2E1F52E5B1D0}" srcOrd="2" destOrd="0" presId="urn:microsoft.com/office/officeart/2005/8/layout/gear1"/>
    <dgm:cxn modelId="{3DBF4ABE-A228-48D2-AC1F-C5B1F9923C6F}" type="presParOf" srcId="{AD7C415B-5257-4BEE-97CD-851F8A68ADF1}" destId="{F0687981-E766-4B28-87B8-BAA7F84945C3}" srcOrd="3" destOrd="0" presId="urn:microsoft.com/office/officeart/2005/8/layout/gear1"/>
    <dgm:cxn modelId="{A69182E7-7D75-44C7-AC32-AF63A8AA34D9}" type="presParOf" srcId="{AD7C415B-5257-4BEE-97CD-851F8A68ADF1}" destId="{F7CDC5D7-E39E-4BDD-A48F-0C151A295134}" srcOrd="4" destOrd="0" presId="urn:microsoft.com/office/officeart/2005/8/layout/gear1"/>
    <dgm:cxn modelId="{2C062BF0-54D2-49DA-BE59-6385BEE42ADB}" type="presParOf" srcId="{AD7C415B-5257-4BEE-97CD-851F8A68ADF1}" destId="{A2AB5421-DFB7-43DF-AB2B-93D0C04AEFF0}" srcOrd="5" destOrd="0" presId="urn:microsoft.com/office/officeart/2005/8/layout/gear1"/>
    <dgm:cxn modelId="{310A7E21-255B-4FFE-AAEE-4432ECCBB248}" type="presParOf" srcId="{AD7C415B-5257-4BEE-97CD-851F8A68ADF1}" destId="{F580315A-E35D-495D-A18B-498CB16A0D19}" srcOrd="6" destOrd="0" presId="urn:microsoft.com/office/officeart/2005/8/layout/gear1"/>
    <dgm:cxn modelId="{EF800FC2-EEA0-44D3-AB10-5F75DEE976CF}" type="presParOf" srcId="{AD7C415B-5257-4BEE-97CD-851F8A68ADF1}" destId="{8D496A09-99D1-4D36-9D3C-1ADEAE9B39A0}" srcOrd="7" destOrd="0" presId="urn:microsoft.com/office/officeart/2005/8/layout/gear1"/>
    <dgm:cxn modelId="{80ABC819-BBBF-4D9A-858A-743C0CDD4104}" type="presParOf" srcId="{AD7C415B-5257-4BEE-97CD-851F8A68ADF1}" destId="{78918517-5C12-4310-AB85-21BF95C7A292}" srcOrd="8" destOrd="0" presId="urn:microsoft.com/office/officeart/2005/8/layout/gear1"/>
    <dgm:cxn modelId="{2933E801-9CCD-4592-80B8-817D075B203D}" type="presParOf" srcId="{AD7C415B-5257-4BEE-97CD-851F8A68ADF1}" destId="{B4E7DEB8-ABD6-453F-93D1-74535EC692A8}" srcOrd="9" destOrd="0" presId="urn:microsoft.com/office/officeart/2005/8/layout/gear1"/>
    <dgm:cxn modelId="{1D609C18-1BAF-429E-A6AE-6AA1515084E1}" type="presParOf" srcId="{AD7C415B-5257-4BEE-97CD-851F8A68ADF1}" destId="{D5F6305B-3D3F-4084-BCC5-FEEE7AA523D3}" srcOrd="10" destOrd="0" presId="urn:microsoft.com/office/officeart/2005/8/layout/gear1"/>
    <dgm:cxn modelId="{1CB52907-52C8-4995-8F96-542AE463B269}" type="presParOf" srcId="{AD7C415B-5257-4BEE-97CD-851F8A68ADF1}" destId="{C4490E73-95FF-4D33-A974-73B76EB98CCF}" srcOrd="11" destOrd="0" presId="urn:microsoft.com/office/officeart/2005/8/layout/gear1"/>
    <dgm:cxn modelId="{D087AAB5-12C1-4939-8CC8-5CA1134D74D5}" type="presParOf" srcId="{AD7C415B-5257-4BEE-97CD-851F8A68ADF1}" destId="{44643691-C80E-4928-A441-1E046BC13E71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hChevron3" loCatId="cycle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>
        <a:solidFill>
          <a:schemeClr val="bg2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0">
            <a:lnSpc>
              <a:spcPct val="110000"/>
            </a:lnSpc>
          </a:pPr>
          <a:r>
            <a:rPr lang="en-US" sz="1000" b="1" dirty="0">
              <a:latin typeface="+mn-lt"/>
            </a:rPr>
            <a:t>Provide Offer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F66099B6-DBBD-4AB0-82D2-877B80F846F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000" b="1" dirty="0">
              <a:latin typeface="+mn-lt"/>
            </a:rPr>
            <a:t>Initiate Contract Negotiation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EE62A4F6-4AC4-435B-990E-81A71CE8CAC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000" b="1" dirty="0">
              <a:latin typeface="+mn-lt"/>
            </a:rPr>
            <a:t>Negotiation Phase</a:t>
          </a:r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2A22E84C-3AA3-4E9C-AE5F-9C2FB0D7FB1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000" b="1" dirty="0">
              <a:latin typeface="+mn-lt"/>
            </a:rPr>
            <a:t>Agreement</a:t>
          </a:r>
        </a:p>
      </dgm:t>
    </dgm:pt>
    <dgm:pt modelId="{6C025E55-DF42-4C5D-AFD5-6015FA053D46}" type="parTrans" cxnId="{BEB859E7-C343-408E-86A1-667C27EE5761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744EA591-F199-49C2-B63A-82709D96C729}" type="sibTrans" cxnId="{BEB859E7-C343-408E-86A1-667C27EE5761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36045517-CEA4-4BE3-B836-C2B6BFE5649B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rgbClr val="0092D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000" b="1" dirty="0">
              <a:latin typeface="+mn-lt"/>
            </a:rPr>
            <a:t>Data Transfer</a:t>
          </a:r>
        </a:p>
      </dgm:t>
    </dgm:pt>
    <dgm:pt modelId="{6231A36F-9B04-4B4A-917A-7E163AFFC956}" type="parTrans" cxnId="{4019353B-443B-4DED-AA6C-3C60E18414C7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BFF3C5ED-87D0-4709-A3B8-A7BF0668006A}" type="sibTrans" cxnId="{4019353B-443B-4DED-AA6C-3C60E18414C7}">
      <dgm:prSet/>
      <dgm:spPr/>
      <dgm:t>
        <a:bodyPr/>
        <a:lstStyle/>
        <a:p>
          <a:endParaRPr lang="en-US" sz="1000">
            <a:latin typeface="+mn-lt"/>
          </a:endParaRPr>
        </a:p>
      </dgm:t>
    </dgm:pt>
    <dgm:pt modelId="{0507EB23-E579-4478-95DE-8B3AF2785525}">
      <dgm:prSet phldrT="[Text]" custT="1"/>
      <dgm:spPr>
        <a:solidFill>
          <a:schemeClr val="bg2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Define asset</a:t>
          </a:r>
        </a:p>
      </dgm:t>
    </dgm:pt>
    <dgm:pt modelId="{123B8FA7-F5AC-4574-A3AA-6A93B87ED425}" type="sibTrans" cxnId="{0D6EFCC2-FDF8-4F6E-9A5E-CA692745C16F}">
      <dgm:prSet/>
      <dgm:spPr/>
      <dgm:t>
        <a:bodyPr/>
        <a:lstStyle/>
        <a:p>
          <a:endParaRPr lang="de-DE" sz="1000">
            <a:latin typeface="+mn-lt"/>
          </a:endParaRPr>
        </a:p>
      </dgm:t>
    </dgm:pt>
    <dgm:pt modelId="{F3890ED8-B1A6-42C1-ACD6-91916746AB30}" type="parTrans" cxnId="{0D6EFCC2-FDF8-4F6E-9A5E-CA692745C16F}">
      <dgm:prSet/>
      <dgm:spPr/>
      <dgm:t>
        <a:bodyPr/>
        <a:lstStyle/>
        <a:p>
          <a:endParaRPr lang="de-DE" sz="1000">
            <a:latin typeface="+mn-lt"/>
          </a:endParaRPr>
        </a:p>
      </dgm:t>
    </dgm:pt>
    <dgm:pt modelId="{0AB8619A-0452-4DF6-A6EC-13D6C3FEA353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Validate contract and policies</a:t>
          </a:r>
        </a:p>
      </dgm:t>
    </dgm:pt>
    <dgm:pt modelId="{D5BEE2A3-7ECD-4721-A190-18464DE8C0F9}" type="parTrans" cxnId="{ABA3BF23-2693-4748-83C4-FB11E5E5797D}">
      <dgm:prSet/>
      <dgm:spPr/>
      <dgm:t>
        <a:bodyPr/>
        <a:lstStyle/>
        <a:p>
          <a:endParaRPr lang="de-DE" sz="1000">
            <a:latin typeface="+mn-lt"/>
          </a:endParaRPr>
        </a:p>
      </dgm:t>
    </dgm:pt>
    <dgm:pt modelId="{F4FBC88E-4EF8-494E-AA3E-374D5200B01A}" type="sibTrans" cxnId="{ABA3BF23-2693-4748-83C4-FB11E5E5797D}">
      <dgm:prSet/>
      <dgm:spPr/>
      <dgm:t>
        <a:bodyPr/>
        <a:lstStyle/>
        <a:p>
          <a:endParaRPr lang="de-DE" sz="1000">
            <a:latin typeface="+mn-lt"/>
          </a:endParaRPr>
        </a:p>
      </dgm:t>
    </dgm:pt>
    <dgm:pt modelId="{BEB62D13-5BEC-4977-8F6F-8C3F28961E3C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Agree on policy</a:t>
          </a:r>
        </a:p>
      </dgm:t>
    </dgm:pt>
    <dgm:pt modelId="{AFDEEA22-B0CB-46D5-9C89-0EFDEF63C529}" type="parTrans" cxnId="{510BD0FD-48A2-409A-9661-4730A7BB49EB}">
      <dgm:prSet/>
      <dgm:spPr/>
      <dgm:t>
        <a:bodyPr/>
        <a:lstStyle/>
        <a:p>
          <a:endParaRPr lang="de-DE" sz="1000">
            <a:latin typeface="+mn-lt"/>
          </a:endParaRPr>
        </a:p>
      </dgm:t>
    </dgm:pt>
    <dgm:pt modelId="{B82C9051-9E34-472E-9E48-606FCAEFDEC6}" type="sibTrans" cxnId="{510BD0FD-48A2-409A-9661-4730A7BB49EB}">
      <dgm:prSet/>
      <dgm:spPr/>
      <dgm:t>
        <a:bodyPr/>
        <a:lstStyle/>
        <a:p>
          <a:endParaRPr lang="de-DE" sz="1000">
            <a:latin typeface="+mn-lt"/>
          </a:endParaRPr>
        </a:p>
      </dgm:t>
    </dgm:pt>
    <dgm:pt modelId="{F8E3A3B7-F438-45D5-A29C-F200999E4D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rgbClr val="0092D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Transfer data (via IDS or out-of-band)</a:t>
          </a:r>
        </a:p>
      </dgm:t>
    </dgm:pt>
    <dgm:pt modelId="{EBE74FE5-8352-47B1-A213-85F22B3EEE1C}" type="parTrans" cxnId="{A947D035-0B8B-4855-A643-AE9D369D77DA}">
      <dgm:prSet/>
      <dgm:spPr/>
      <dgm:t>
        <a:bodyPr/>
        <a:lstStyle/>
        <a:p>
          <a:endParaRPr lang="de-DE" sz="1000">
            <a:latin typeface="+mn-lt"/>
          </a:endParaRPr>
        </a:p>
      </dgm:t>
    </dgm:pt>
    <dgm:pt modelId="{37D7261F-5B1C-4A5C-8B6C-844FD207F39B}" type="sibTrans" cxnId="{A947D035-0B8B-4855-A643-AE9D369D77DA}">
      <dgm:prSet/>
      <dgm:spPr/>
      <dgm:t>
        <a:bodyPr/>
        <a:lstStyle/>
        <a:p>
          <a:endParaRPr lang="de-DE" sz="1000">
            <a:latin typeface="+mn-lt"/>
          </a:endParaRPr>
        </a:p>
      </dgm:t>
    </dgm:pt>
    <dgm:pt modelId="{C71FE87D-2A0D-433D-8819-1BCCC7D8147A}">
      <dgm:prSet phldrT="[Text]" custT="1"/>
      <dgm:spPr>
        <a:solidFill>
          <a:schemeClr val="bg2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Create contract definition with policies</a:t>
          </a:r>
        </a:p>
      </dgm:t>
    </dgm:pt>
    <dgm:pt modelId="{C9AB5E42-2397-49F2-A019-DD91831797C1}" type="parTrans" cxnId="{63055868-E27B-497B-A3A2-D9CF6E98EFB1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6B88A68A-413A-4CD0-AE94-2CED06E676FF}" type="sibTrans" cxnId="{63055868-E27B-497B-A3A2-D9CF6E98EFB1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7CDA183F-3402-4A65-833E-D8D33AA9E889}">
      <dgm:prSet phldrT="[Text]" custT="1"/>
      <dgm:spPr>
        <a:solidFill>
          <a:schemeClr val="bg2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Make offer available</a:t>
          </a:r>
        </a:p>
      </dgm:t>
    </dgm:pt>
    <dgm:pt modelId="{9F7C0198-39CF-4F62-A658-9439C427224E}" type="parTrans" cxnId="{0488F2B5-1ACA-4C18-AC48-7958C10605A2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1402835C-B793-47A5-A517-0222A134742B}" type="sibTrans" cxnId="{0488F2B5-1ACA-4C18-AC48-7958C10605A2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6E39BB5C-A891-431B-AEA2-0D4D5544159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Create request (adopt or new)</a:t>
          </a:r>
        </a:p>
      </dgm:t>
    </dgm:pt>
    <dgm:pt modelId="{1AF7144F-CCF9-4844-B5AE-563A5C34017F}" type="parTrans" cxnId="{D859018F-39E8-453A-8EDE-9AA4DD2EE000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B396DB17-3FBC-4CB2-903D-640E7D9842B6}" type="sibTrans" cxnId="{D859018F-39E8-453A-8EDE-9AA4DD2EE000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75650848-BA7F-4D63-9C1B-56DD99E210AA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Interception by systems/users</a:t>
          </a:r>
        </a:p>
      </dgm:t>
    </dgm:pt>
    <dgm:pt modelId="{2403532C-44F0-41A7-890A-C113835F9DFA}" type="parTrans" cxnId="{7CFF5921-3792-4B30-A930-1A1F21AB194E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FBB596C8-F11D-42DD-B08E-B750BF042A92}" type="sibTrans" cxnId="{7CFF5921-3792-4B30-A930-1A1F21AB194E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A339158A-D969-4C9D-AA83-5FF562E1B386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Sign contract</a:t>
          </a:r>
        </a:p>
      </dgm:t>
    </dgm:pt>
    <dgm:pt modelId="{380BB445-3F64-4AA4-A45B-7D078CF42DEF}" type="parTrans" cxnId="{4A3DD828-8B4A-435F-9E65-9C3921378F18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7D5CD482-D97A-4854-B75B-467D2B5D1FF2}" type="sibTrans" cxnId="{4A3DD828-8B4A-435F-9E65-9C3921378F18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F54D49FB-D07D-4B46-8B1E-A4E650C54CE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Persist contract</a:t>
          </a:r>
        </a:p>
      </dgm:t>
    </dgm:pt>
    <dgm:pt modelId="{931393B5-77BC-465C-9B7C-698BE2E2A647}" type="parTrans" cxnId="{52183607-5620-4AFF-B7CC-9FFEE68D1A42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0B33092B-5A82-4A7F-85D6-3668F3E92366}" type="sibTrans" cxnId="{52183607-5620-4AFF-B7CC-9FFEE68D1A42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60D030BF-DA18-43E7-9EBD-079C35F8380B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Optionally involve 3</a:t>
          </a:r>
          <a:r>
            <a:rPr lang="en-US" sz="1000" baseline="30000" dirty="0">
              <a:solidFill>
                <a:schemeClr val="bg1"/>
              </a:solidFill>
              <a:latin typeface="+mn-lt"/>
            </a:rPr>
            <a:t>rd</a:t>
          </a:r>
          <a:r>
            <a:rPr lang="en-US" sz="1000" dirty="0">
              <a:solidFill>
                <a:schemeClr val="bg1"/>
              </a:solidFill>
              <a:latin typeface="+mn-lt"/>
            </a:rPr>
            <a:t> party</a:t>
          </a:r>
        </a:p>
      </dgm:t>
    </dgm:pt>
    <dgm:pt modelId="{76FD09DC-4E6E-4071-8491-42AE25980568}" type="parTrans" cxnId="{BBAEDFAC-A087-49C1-B98A-44B9C6887AA9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B441E8D1-FEB2-4AE8-B00A-45D6B14632D4}" type="sibTrans" cxnId="{BBAEDFAC-A087-49C1-B98A-44B9C6887AA9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2FD5DEDC-8064-4496-B14D-492A6D78642E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rgbClr val="0092D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Enforce policies of agreement</a:t>
          </a:r>
        </a:p>
      </dgm:t>
    </dgm:pt>
    <dgm:pt modelId="{57B5516B-AD35-49CD-82D2-24E3E5F5B778}" type="parTrans" cxnId="{BC74EE78-6F67-47E3-B74D-D52D7C8D26AD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9A393A3C-E5D6-44A5-9482-1EE4D287A895}" type="sibTrans" cxnId="{BC74EE78-6F67-47E3-B74D-D52D7C8D26AD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EDA761EA-890A-49A9-86A5-4D6D17885B83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dirty="0">
              <a:solidFill>
                <a:schemeClr val="bg1"/>
              </a:solidFill>
              <a:latin typeface="+mn-lt"/>
            </a:rPr>
            <a:t>Select protocol (e.g., IDS)</a:t>
          </a:r>
        </a:p>
      </dgm:t>
    </dgm:pt>
    <dgm:pt modelId="{F3887873-D22F-4B0E-BA5F-49BA80E08BA1}" type="parTrans" cxnId="{EA937623-C099-48A4-9B7B-A3A6D965D304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BCB1289D-C576-491F-B461-9128B826772D}" type="sibTrans" cxnId="{EA937623-C099-48A4-9B7B-A3A6D965D304}">
      <dgm:prSet/>
      <dgm:spPr/>
      <dgm:t>
        <a:bodyPr/>
        <a:lstStyle/>
        <a:p>
          <a:endParaRPr lang="en-GB" sz="1000">
            <a:latin typeface="+mn-lt"/>
          </a:endParaRPr>
        </a:p>
      </dgm:t>
    </dgm:pt>
    <dgm:pt modelId="{AB306E7F-BBFE-4840-97DE-4860B97247CD}" type="pres">
      <dgm:prSet presAssocID="{B9C32B05-62EA-407A-B21C-2310C7945705}" presName="Name0" presStyleCnt="0">
        <dgm:presLayoutVars>
          <dgm:dir/>
          <dgm:resizeHandles val="exact"/>
        </dgm:presLayoutVars>
      </dgm:prSet>
      <dgm:spPr/>
    </dgm:pt>
    <dgm:pt modelId="{B9826503-FF9C-6249-9C5E-E871F59DF66E}" type="pres">
      <dgm:prSet presAssocID="{42D71409-67F9-455C-8C6D-716D284AAA6B}" presName="parAndChTx" presStyleLbl="node1" presStyleIdx="0" presStyleCnt="5">
        <dgm:presLayoutVars>
          <dgm:bulletEnabled val="1"/>
        </dgm:presLayoutVars>
      </dgm:prSet>
      <dgm:spPr/>
    </dgm:pt>
    <dgm:pt modelId="{9E68C294-9D60-C64E-831C-8471394B08F2}" type="pres">
      <dgm:prSet presAssocID="{478B7D3C-9FB4-4BC6-90AC-49960560DECD}" presName="parAndChSpace" presStyleCnt="0"/>
      <dgm:spPr/>
    </dgm:pt>
    <dgm:pt modelId="{CE4FB90A-23D3-624D-9472-058615351CBF}" type="pres">
      <dgm:prSet presAssocID="{F66099B6-DBBD-4AB0-82D2-877B80F846F7}" presName="parAndChTx" presStyleLbl="node1" presStyleIdx="1" presStyleCnt="5" custLinFactNeighborX="238" custLinFactNeighborY="40772">
        <dgm:presLayoutVars>
          <dgm:bulletEnabled val="1"/>
        </dgm:presLayoutVars>
      </dgm:prSet>
      <dgm:spPr>
        <a:xfrm>
          <a:off x="2139347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85FAA2A2-408F-4949-BE8D-AD37BDF00EDF}" type="pres">
      <dgm:prSet presAssocID="{BC531B32-9B0E-482E-BF91-65C61F17168D}" presName="parAndChSpace" presStyleCnt="0"/>
      <dgm:spPr/>
    </dgm:pt>
    <dgm:pt modelId="{C15471C6-BFF9-794C-A967-24D4510CC0B1}" type="pres">
      <dgm:prSet presAssocID="{EE62A4F6-4AC4-435B-990E-81A71CE8CAC7}" presName="parAndChTx" presStyleLbl="node1" presStyleIdx="2" presStyleCnt="5" custLinFactNeighborX="478">
        <dgm:presLayoutVars>
          <dgm:bulletEnabled val="1"/>
        </dgm:presLayoutVars>
      </dgm:prSet>
      <dgm:spPr>
        <a:xfrm>
          <a:off x="427733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3B48E58C-E618-4C44-8650-13C0E456C746}" type="pres">
      <dgm:prSet presAssocID="{389F9A93-0231-4877-8C41-5D5B8DD7AAC0}" presName="parAndChSpace" presStyleCnt="0"/>
      <dgm:spPr/>
    </dgm:pt>
    <dgm:pt modelId="{06E132D3-40E2-204E-AF8C-A0D9B0AEDE48}" type="pres">
      <dgm:prSet presAssocID="{2A22E84C-3AA3-4E9C-AE5F-9C2FB0D7FB11}" presName="parAndChTx" presStyleLbl="node1" presStyleIdx="3" presStyleCnt="5" custLinFactNeighborX="808">
        <dgm:presLayoutVars>
          <dgm:bulletEnabled val="1"/>
        </dgm:presLayoutVars>
      </dgm:prSet>
      <dgm:spPr>
        <a:xfrm>
          <a:off x="641580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0533F1AC-E484-2A4A-87E0-4742A07FFE2C}" type="pres">
      <dgm:prSet presAssocID="{744EA591-F199-49C2-B63A-82709D96C729}" presName="parAndChSpace" presStyleCnt="0"/>
      <dgm:spPr/>
    </dgm:pt>
    <dgm:pt modelId="{182A42C9-E9CF-A141-834A-3F05F838D1A7}" type="pres">
      <dgm:prSet presAssocID="{36045517-CEA4-4BE3-B836-C2B6BFE5649B}" presName="parAndChTx" presStyleLbl="node1" presStyleIdx="4" presStyleCnt="5" custLinFactNeighborX="2247">
        <dgm:presLayoutVars>
          <dgm:bulletEnabled val="1"/>
        </dgm:presLayoutVars>
      </dgm:prSet>
      <dgm:spPr>
        <a:xfrm>
          <a:off x="8549566" y="1032955"/>
          <a:ext cx="2670883" cy="2136706"/>
        </a:xfrm>
        <a:prstGeom prst="chevron">
          <a:avLst>
            <a:gd name="adj" fmla="val 25000"/>
          </a:avLst>
        </a:prstGeom>
      </dgm:spPr>
    </dgm:pt>
  </dgm:ptLst>
  <dgm:cxnLst>
    <dgm:cxn modelId="{52183607-5620-4AFF-B7CC-9FFEE68D1A42}" srcId="{2A22E84C-3AA3-4E9C-AE5F-9C2FB0D7FB11}" destId="{F54D49FB-D07D-4B46-8B1E-A4E650C54CE1}" srcOrd="2" destOrd="0" parTransId="{931393B5-77BC-465C-9B7C-698BE2E2A647}" sibTransId="{0B33092B-5A82-4A7F-85D6-3668F3E92366}"/>
    <dgm:cxn modelId="{A9733715-AC24-4210-B4B0-C76F7CCE1B5E}" type="presOf" srcId="{6E39BB5C-A891-431B-AEA2-0D4D55441590}" destId="{CE4FB90A-23D3-624D-9472-058615351CBF}" srcOrd="0" destOrd="1" presId="urn:microsoft.com/office/officeart/2005/8/layout/hChevron3"/>
    <dgm:cxn modelId="{F2BC8F1B-6C7C-4037-8FA2-511BCA555262}" type="presOf" srcId="{0507EB23-E579-4478-95DE-8B3AF2785525}" destId="{B9826503-FF9C-6249-9C5E-E871F59DF66E}" srcOrd="0" destOrd="1" presId="urn:microsoft.com/office/officeart/2005/8/layout/hChevron3"/>
    <dgm:cxn modelId="{F892A41E-53C5-4A86-9737-D0FA0D8B2320}" type="presOf" srcId="{60D030BF-DA18-43E7-9EBD-079C35F8380B}" destId="{06E132D3-40E2-204E-AF8C-A0D9B0AEDE48}" srcOrd="0" destOrd="4" presId="urn:microsoft.com/office/officeart/2005/8/layout/hChevron3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7CFF5921-3792-4B30-A930-1A1F21AB194E}" srcId="{EE62A4F6-4AC4-435B-990E-81A71CE8CAC7}" destId="{75650848-BA7F-4D63-9C1B-56DD99E210AA}" srcOrd="1" destOrd="0" parTransId="{2403532C-44F0-41A7-890A-C113835F9DFA}" sibTransId="{FBB596C8-F11D-42DD-B08E-B750BF042A92}"/>
    <dgm:cxn modelId="{EA937623-C099-48A4-9B7B-A3A6D965D304}" srcId="{F66099B6-DBBD-4AB0-82D2-877B80F846F7}" destId="{EDA761EA-890A-49A9-86A5-4D6D17885B83}" srcOrd="1" destOrd="0" parTransId="{F3887873-D22F-4B0E-BA5F-49BA80E08BA1}" sibTransId="{BCB1289D-C576-491F-B461-9128B826772D}"/>
    <dgm:cxn modelId="{ABA3BF23-2693-4748-83C4-FB11E5E5797D}" srcId="{EE62A4F6-4AC4-435B-990E-81A71CE8CAC7}" destId="{0AB8619A-0452-4DF6-A6EC-13D6C3FEA353}" srcOrd="0" destOrd="0" parTransId="{D5BEE2A3-7ECD-4721-A190-18464DE8C0F9}" sibTransId="{F4FBC88E-4EF8-494E-AA3E-374D5200B01A}"/>
    <dgm:cxn modelId="{4A3DD828-8B4A-435F-9E65-9C3921378F18}" srcId="{2A22E84C-3AA3-4E9C-AE5F-9C2FB0D7FB11}" destId="{A339158A-D969-4C9D-AA83-5FF562E1B386}" srcOrd="1" destOrd="0" parTransId="{380BB445-3F64-4AA4-A45B-7D078CF42DEF}" sibTransId="{7D5CD482-D97A-4854-B75B-467D2B5D1FF2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2F903D33-9424-4970-ABC5-39BD92EB8F19}" type="presOf" srcId="{C71FE87D-2A0D-433D-8819-1BCCC7D8147A}" destId="{B9826503-FF9C-6249-9C5E-E871F59DF66E}" srcOrd="0" destOrd="2" presId="urn:microsoft.com/office/officeart/2005/8/layout/hChevron3"/>
    <dgm:cxn modelId="{A947D035-0B8B-4855-A643-AE9D369D77DA}" srcId="{36045517-CEA4-4BE3-B836-C2B6BFE5649B}" destId="{F8E3A3B7-F438-45D5-A29C-F200999E4D00}" srcOrd="0" destOrd="0" parTransId="{EBE74FE5-8352-47B1-A213-85F22B3EEE1C}" sibTransId="{37D7261F-5B1C-4A5C-8B6C-844FD207F39B}"/>
    <dgm:cxn modelId="{42B37039-7118-4F21-A9FF-9D52EC739763}" type="presOf" srcId="{0AB8619A-0452-4DF6-A6EC-13D6C3FEA353}" destId="{C15471C6-BFF9-794C-A967-24D4510CC0B1}" srcOrd="0" destOrd="1" presId="urn:microsoft.com/office/officeart/2005/8/layout/hChevron3"/>
    <dgm:cxn modelId="{4019353B-443B-4DED-AA6C-3C60E18414C7}" srcId="{B9C32B05-62EA-407A-B21C-2310C7945705}" destId="{36045517-CEA4-4BE3-B836-C2B6BFE5649B}" srcOrd="4" destOrd="0" parTransId="{6231A36F-9B04-4B4A-917A-7E163AFFC956}" sibTransId="{BFF3C5ED-87D0-4709-A3B8-A7BF0668006A}"/>
    <dgm:cxn modelId="{9BAAFD3B-00B6-4179-905E-B19B5DCFC94B}" type="presOf" srcId="{2FD5DEDC-8064-4496-B14D-492A6D78642E}" destId="{182A42C9-E9CF-A141-834A-3F05F838D1A7}" srcOrd="0" destOrd="2" presId="urn:microsoft.com/office/officeart/2005/8/layout/hChevron3"/>
    <dgm:cxn modelId="{C8158E5D-1174-49CF-B0BC-8D9A56B46C7F}" type="presOf" srcId="{BEB62D13-5BEC-4977-8F6F-8C3F28961E3C}" destId="{06E132D3-40E2-204E-AF8C-A0D9B0AEDE48}" srcOrd="0" destOrd="1" presId="urn:microsoft.com/office/officeart/2005/8/layout/hChevron3"/>
    <dgm:cxn modelId="{63055868-E27B-497B-A3A2-D9CF6E98EFB1}" srcId="{42D71409-67F9-455C-8C6D-716D284AAA6B}" destId="{C71FE87D-2A0D-433D-8819-1BCCC7D8147A}" srcOrd="1" destOrd="0" parTransId="{C9AB5E42-2397-49F2-A019-DD91831797C1}" sibTransId="{6B88A68A-413A-4CD0-AE94-2CED06E676FF}"/>
    <dgm:cxn modelId="{8723AE74-9D09-4F56-BAC0-BEDC4A9A495F}" type="presOf" srcId="{A339158A-D969-4C9D-AA83-5FF562E1B386}" destId="{06E132D3-40E2-204E-AF8C-A0D9B0AEDE48}" srcOrd="0" destOrd="2" presId="urn:microsoft.com/office/officeart/2005/8/layout/hChevron3"/>
    <dgm:cxn modelId="{9B749F75-6EF2-445E-A612-85FFF5EBA272}" type="presOf" srcId="{7CDA183F-3402-4A65-833E-D8D33AA9E889}" destId="{B9826503-FF9C-6249-9C5E-E871F59DF66E}" srcOrd="0" destOrd="3" presId="urn:microsoft.com/office/officeart/2005/8/layout/hChevron3"/>
    <dgm:cxn modelId="{BC74EE78-6F67-47E3-B74D-D52D7C8D26AD}" srcId="{36045517-CEA4-4BE3-B836-C2B6BFE5649B}" destId="{2FD5DEDC-8064-4496-B14D-492A6D78642E}" srcOrd="1" destOrd="0" parTransId="{57B5516B-AD35-49CD-82D2-24E3E5F5B778}" sibTransId="{9A393A3C-E5D6-44A5-9482-1EE4D287A895}"/>
    <dgm:cxn modelId="{6098A082-8692-AB46-984B-7F99438C1E5E}" type="presOf" srcId="{2A22E84C-3AA3-4E9C-AE5F-9C2FB0D7FB11}" destId="{06E132D3-40E2-204E-AF8C-A0D9B0AEDE48}" srcOrd="0" destOrd="0" presId="urn:microsoft.com/office/officeart/2005/8/layout/hChevron3"/>
    <dgm:cxn modelId="{D859018F-39E8-453A-8EDE-9AA4DD2EE000}" srcId="{F66099B6-DBBD-4AB0-82D2-877B80F846F7}" destId="{6E39BB5C-A891-431B-AEA2-0D4D55441590}" srcOrd="0" destOrd="0" parTransId="{1AF7144F-CCF9-4844-B5AE-563A5C34017F}" sibTransId="{B396DB17-3FBC-4CB2-903D-640E7D9842B6}"/>
    <dgm:cxn modelId="{5697F795-AB4A-435D-AD11-6EB501774A93}" type="presOf" srcId="{F54D49FB-D07D-4B46-8B1E-A4E650C54CE1}" destId="{06E132D3-40E2-204E-AF8C-A0D9B0AEDE48}" srcOrd="0" destOrd="3" presId="urn:microsoft.com/office/officeart/2005/8/layout/hChevron3"/>
    <dgm:cxn modelId="{3A2CECA6-0C5B-46BB-B7C6-7D37E9D210BD}" srcId="{B9C32B05-62EA-407A-B21C-2310C7945705}" destId="{EE62A4F6-4AC4-435B-990E-81A71CE8CAC7}" srcOrd="2" destOrd="0" parTransId="{F287B947-7343-4FA2-B288-B23A59FFAE31}" sibTransId="{389F9A93-0231-4877-8C41-5D5B8DD7AAC0}"/>
    <dgm:cxn modelId="{5FC5EAA9-04D6-4B44-89E3-55C1C95F6D03}" type="presOf" srcId="{42D71409-67F9-455C-8C6D-716D284AAA6B}" destId="{B9826503-FF9C-6249-9C5E-E871F59DF66E}" srcOrd="0" destOrd="0" presId="urn:microsoft.com/office/officeart/2005/8/layout/hChevron3"/>
    <dgm:cxn modelId="{BBAEDFAC-A087-49C1-B98A-44B9C6887AA9}" srcId="{2A22E84C-3AA3-4E9C-AE5F-9C2FB0D7FB11}" destId="{60D030BF-DA18-43E7-9EBD-079C35F8380B}" srcOrd="3" destOrd="0" parTransId="{76FD09DC-4E6E-4071-8491-42AE25980568}" sibTransId="{B441E8D1-FEB2-4AE8-B00A-45D6B14632D4}"/>
    <dgm:cxn modelId="{B78501AE-CD38-4E02-A2F5-91B4B2CCE829}" type="presOf" srcId="{75650848-BA7F-4D63-9C1B-56DD99E210AA}" destId="{C15471C6-BFF9-794C-A967-24D4510CC0B1}" srcOrd="0" destOrd="2" presId="urn:microsoft.com/office/officeart/2005/8/layout/hChevron3"/>
    <dgm:cxn modelId="{0488F2B5-1ACA-4C18-AC48-7958C10605A2}" srcId="{42D71409-67F9-455C-8C6D-716D284AAA6B}" destId="{7CDA183F-3402-4A65-833E-D8D33AA9E889}" srcOrd="2" destOrd="0" parTransId="{9F7C0198-39CF-4F62-A658-9439C427224E}" sibTransId="{1402835C-B793-47A5-A517-0222A134742B}"/>
    <dgm:cxn modelId="{6C3A2DC2-4534-444F-B2A4-EC21C4097F1A}" type="presOf" srcId="{36045517-CEA4-4BE3-B836-C2B6BFE5649B}" destId="{182A42C9-E9CF-A141-834A-3F05F838D1A7}" srcOrd="0" destOrd="0" presId="urn:microsoft.com/office/officeart/2005/8/layout/hChevron3"/>
    <dgm:cxn modelId="{0D6EFCC2-FDF8-4F6E-9A5E-CA692745C16F}" srcId="{42D71409-67F9-455C-8C6D-716D284AAA6B}" destId="{0507EB23-E579-4478-95DE-8B3AF2785525}" srcOrd="0" destOrd="0" parTransId="{F3890ED8-B1A6-42C1-ACD6-91916746AB30}" sibTransId="{123B8FA7-F5AC-4574-A3AA-6A93B87ED425}"/>
    <dgm:cxn modelId="{7CF965CB-6E73-8C40-A714-E58570D12267}" type="presOf" srcId="{F66099B6-DBBD-4AB0-82D2-877B80F846F7}" destId="{CE4FB90A-23D3-624D-9472-058615351CBF}" srcOrd="0" destOrd="0" presId="urn:microsoft.com/office/officeart/2005/8/layout/hChevron3"/>
    <dgm:cxn modelId="{771A36CD-2BA5-154E-AC00-01B6378AFB6D}" type="presOf" srcId="{B9C32B05-62EA-407A-B21C-2310C7945705}" destId="{AB306E7F-BBFE-4840-97DE-4860B97247CD}" srcOrd="0" destOrd="0" presId="urn:microsoft.com/office/officeart/2005/8/layout/hChevron3"/>
    <dgm:cxn modelId="{701333CE-F8FE-470A-9DFD-70A4933969B2}" type="presOf" srcId="{F8E3A3B7-F438-45D5-A29C-F200999E4D00}" destId="{182A42C9-E9CF-A141-834A-3F05F838D1A7}" srcOrd="0" destOrd="1" presId="urn:microsoft.com/office/officeart/2005/8/layout/hChevron3"/>
    <dgm:cxn modelId="{696307DD-2316-49F4-A26A-EFBD3FE77E21}" type="presOf" srcId="{EDA761EA-890A-49A9-86A5-4D6D17885B83}" destId="{CE4FB90A-23D3-624D-9472-058615351CBF}" srcOrd="0" destOrd="2" presId="urn:microsoft.com/office/officeart/2005/8/layout/hChevron3"/>
    <dgm:cxn modelId="{FCA4F9E3-5AF9-3B44-BC86-C54CC8DA7F56}" type="presOf" srcId="{EE62A4F6-4AC4-435B-990E-81A71CE8CAC7}" destId="{C15471C6-BFF9-794C-A967-24D4510CC0B1}" srcOrd="0" destOrd="0" presId="urn:microsoft.com/office/officeart/2005/8/layout/hChevron3"/>
    <dgm:cxn modelId="{BEB859E7-C343-408E-86A1-667C27EE5761}" srcId="{B9C32B05-62EA-407A-B21C-2310C7945705}" destId="{2A22E84C-3AA3-4E9C-AE5F-9C2FB0D7FB11}" srcOrd="3" destOrd="0" parTransId="{6C025E55-DF42-4C5D-AFD5-6015FA053D46}" sibTransId="{744EA591-F199-49C2-B63A-82709D96C729}"/>
    <dgm:cxn modelId="{510BD0FD-48A2-409A-9661-4730A7BB49EB}" srcId="{2A22E84C-3AA3-4E9C-AE5F-9C2FB0D7FB11}" destId="{BEB62D13-5BEC-4977-8F6F-8C3F28961E3C}" srcOrd="0" destOrd="0" parTransId="{AFDEEA22-B0CB-46D5-9C89-0EFDEF63C529}" sibTransId="{B82C9051-9E34-472E-9E48-606FCAEFDEC6}"/>
    <dgm:cxn modelId="{DE6ACD62-BCE5-D54F-A6F6-A039788F89A4}" type="presParOf" srcId="{AB306E7F-BBFE-4840-97DE-4860B97247CD}" destId="{B9826503-FF9C-6249-9C5E-E871F59DF66E}" srcOrd="0" destOrd="0" presId="urn:microsoft.com/office/officeart/2005/8/layout/hChevron3"/>
    <dgm:cxn modelId="{69B8145E-251F-EE4F-ABCC-4048475C3A0B}" type="presParOf" srcId="{AB306E7F-BBFE-4840-97DE-4860B97247CD}" destId="{9E68C294-9D60-C64E-831C-8471394B08F2}" srcOrd="1" destOrd="0" presId="urn:microsoft.com/office/officeart/2005/8/layout/hChevron3"/>
    <dgm:cxn modelId="{446E00F2-6ACA-2F4D-AD09-C2B503BFF403}" type="presParOf" srcId="{AB306E7F-BBFE-4840-97DE-4860B97247CD}" destId="{CE4FB90A-23D3-624D-9472-058615351CBF}" srcOrd="2" destOrd="0" presId="urn:microsoft.com/office/officeart/2005/8/layout/hChevron3"/>
    <dgm:cxn modelId="{8A768791-3A2E-5E46-8EC8-7EB78D621572}" type="presParOf" srcId="{AB306E7F-BBFE-4840-97DE-4860B97247CD}" destId="{85FAA2A2-408F-4949-BE8D-AD37BDF00EDF}" srcOrd="3" destOrd="0" presId="urn:microsoft.com/office/officeart/2005/8/layout/hChevron3"/>
    <dgm:cxn modelId="{C1D9DDFB-5AC1-9646-9109-D9DD986BA471}" type="presParOf" srcId="{AB306E7F-BBFE-4840-97DE-4860B97247CD}" destId="{C15471C6-BFF9-794C-A967-24D4510CC0B1}" srcOrd="4" destOrd="0" presId="urn:microsoft.com/office/officeart/2005/8/layout/hChevron3"/>
    <dgm:cxn modelId="{6CE53580-37BA-034B-954B-1670DB41C869}" type="presParOf" srcId="{AB306E7F-BBFE-4840-97DE-4860B97247CD}" destId="{3B48E58C-E618-4C44-8650-13C0E456C746}" srcOrd="5" destOrd="0" presId="urn:microsoft.com/office/officeart/2005/8/layout/hChevron3"/>
    <dgm:cxn modelId="{180A4A5F-14AD-1B4A-9A63-493764DC42F5}" type="presParOf" srcId="{AB306E7F-BBFE-4840-97DE-4860B97247CD}" destId="{06E132D3-40E2-204E-AF8C-A0D9B0AEDE48}" srcOrd="6" destOrd="0" presId="urn:microsoft.com/office/officeart/2005/8/layout/hChevron3"/>
    <dgm:cxn modelId="{6B7BD185-3558-7640-B604-34855655EFEF}" type="presParOf" srcId="{AB306E7F-BBFE-4840-97DE-4860B97247CD}" destId="{0533F1AC-E484-2A4A-87E0-4742A07FFE2C}" srcOrd="7" destOrd="0" presId="urn:microsoft.com/office/officeart/2005/8/layout/hChevron3"/>
    <dgm:cxn modelId="{D119BBE3-A07C-C14E-B21C-1D5467E28D9F}" type="presParOf" srcId="{AB306E7F-BBFE-4840-97DE-4860B97247CD}" destId="{182A42C9-E9CF-A141-834A-3F05F838D1A7}" srcOrd="8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4EA795-28DD-406F-B9E5-58A51A84B47E}">
      <dsp:nvSpPr>
        <dsp:cNvPr id="0" name=""/>
        <dsp:cNvSpPr/>
      </dsp:nvSpPr>
      <dsp:spPr>
        <a:xfrm>
          <a:off x="1831223" y="1405415"/>
          <a:ext cx="1717730" cy="1717730"/>
        </a:xfrm>
        <a:prstGeom prst="gear9">
          <a:avLst/>
        </a:prstGeom>
        <a:solidFill>
          <a:srgbClr val="D3F1FC"/>
        </a:solidFill>
        <a:ln w="127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Separation of information flows (</a:t>
          </a:r>
          <a:r>
            <a:rPr lang="en-GB" sz="1000" b="1" kern="1200" dirty="0">
              <a:solidFill>
                <a:schemeClr val="tx1"/>
              </a:solidFill>
              <a:latin typeface="+mn-lt"/>
              <a:ea typeface="+mn-ea"/>
              <a:cs typeface="+mn-cs"/>
              <a:sym typeface="Wingdings" panose="05000000000000000000" pitchFamily="2" charset="2"/>
            </a:rPr>
            <a:t>control</a:t>
          </a: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) and data transfer (</a:t>
          </a:r>
          <a:r>
            <a:rPr lang="en-GB" sz="1000" b="1" kern="1200" dirty="0">
              <a:solidFill>
                <a:schemeClr val="tx1"/>
              </a:solidFill>
              <a:sym typeface="Wingdings" panose="05000000000000000000" pitchFamily="2" charset="2"/>
            </a:rPr>
            <a:t>exchange</a:t>
          </a: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)</a:t>
          </a:r>
          <a:endParaRPr lang="de-DE" sz="1000" kern="1200" dirty="0">
            <a:solidFill>
              <a:schemeClr val="tx1"/>
            </a:solidFill>
          </a:endParaRPr>
        </a:p>
      </dsp:txBody>
      <dsp:txXfrm>
        <a:off x="2176563" y="1807785"/>
        <a:ext cx="1027050" cy="882949"/>
      </dsp:txXfrm>
    </dsp:sp>
    <dsp:sp modelId="{518FCE5A-52CC-4114-9D15-94CA97B05A30}">
      <dsp:nvSpPr>
        <dsp:cNvPr id="0" name=""/>
        <dsp:cNvSpPr/>
      </dsp:nvSpPr>
      <dsp:spPr>
        <a:xfrm>
          <a:off x="831816" y="999406"/>
          <a:ext cx="1249258" cy="1249258"/>
        </a:xfrm>
        <a:prstGeom prst="gear6">
          <a:avLst/>
        </a:prstGeom>
        <a:solidFill>
          <a:srgbClr val="D3F1FC"/>
        </a:solidFill>
        <a:ln w="12700" cap="flat" cmpd="sng" algn="ctr">
          <a:solidFill>
            <a:srgbClr val="0BA2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 err="1">
              <a:solidFill>
                <a:schemeClr val="tx1"/>
              </a:solidFill>
              <a:sym typeface="Wingdings" panose="05000000000000000000" pitchFamily="2" charset="2"/>
            </a:rPr>
            <a:t>Asynchro</a:t>
          </a: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-nous and </a:t>
          </a:r>
          <a:r>
            <a:rPr lang="en-GB" sz="1000" kern="1200" dirty="0">
              <a:solidFill>
                <a:prstClr val="black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highly</a:t>
          </a:r>
          <a:r>
            <a:rPr lang="en-GB" sz="1000" kern="1200" dirty="0">
              <a:solidFill>
                <a:schemeClr val="tx1"/>
              </a:solidFill>
              <a:sym typeface="Wingdings" panose="05000000000000000000" pitchFamily="2" charset="2"/>
            </a:rPr>
            <a:t> available</a:t>
          </a:r>
        </a:p>
      </dsp:txBody>
      <dsp:txXfrm>
        <a:off x="1146320" y="1315811"/>
        <a:ext cx="620250" cy="616448"/>
      </dsp:txXfrm>
    </dsp:sp>
    <dsp:sp modelId="{3A67FEDC-EF38-4689-B1A9-322871A4AEA0}">
      <dsp:nvSpPr>
        <dsp:cNvPr id="0" name=""/>
        <dsp:cNvSpPr/>
      </dsp:nvSpPr>
      <dsp:spPr>
        <a:xfrm rot="20700000">
          <a:off x="1531529" y="137545"/>
          <a:ext cx="1224018" cy="1224018"/>
        </a:xfrm>
        <a:prstGeom prst="gear6">
          <a:avLst/>
        </a:prstGeom>
        <a:solidFill>
          <a:srgbClr val="D8D8D8"/>
        </a:solidFill>
        <a:ln w="127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schemeClr val="bg1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Modular and extensible</a:t>
          </a:r>
        </a:p>
      </dsp:txBody>
      <dsp:txXfrm rot="-20700000">
        <a:off x="1799992" y="406008"/>
        <a:ext cx="687092" cy="687092"/>
      </dsp:txXfrm>
    </dsp:sp>
    <dsp:sp modelId="{3E19053F-BAC6-4D46-A39C-19FA9AAFE77D}">
      <dsp:nvSpPr>
        <dsp:cNvPr id="0" name=""/>
        <dsp:cNvSpPr/>
      </dsp:nvSpPr>
      <dsp:spPr>
        <a:xfrm>
          <a:off x="1687748" y="1152629"/>
          <a:ext cx="2198694" cy="2198694"/>
        </a:xfrm>
        <a:prstGeom prst="circularArrow">
          <a:avLst>
            <a:gd name="adj1" fmla="val 4688"/>
            <a:gd name="adj2" fmla="val 299029"/>
            <a:gd name="adj3" fmla="val 2483715"/>
            <a:gd name="adj4" fmla="val 15933040"/>
            <a:gd name="adj5" fmla="val 5469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E30E08-9F50-40F2-9BAA-F3162747CE44}">
      <dsp:nvSpPr>
        <dsp:cNvPr id="0" name=""/>
        <dsp:cNvSpPr/>
      </dsp:nvSpPr>
      <dsp:spPr>
        <a:xfrm>
          <a:off x="610575" y="727590"/>
          <a:ext cx="1597489" cy="1597489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005D3F-9221-42F5-A157-F2D8605EA847}">
      <dsp:nvSpPr>
        <dsp:cNvPr id="0" name=""/>
        <dsp:cNvSpPr/>
      </dsp:nvSpPr>
      <dsp:spPr>
        <a:xfrm>
          <a:off x="1248401" y="-125963"/>
          <a:ext cx="1722415" cy="172241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6EC681-EF35-4ED9-BB36-933FF038774A}">
      <dsp:nvSpPr>
        <dsp:cNvPr id="0" name=""/>
        <dsp:cNvSpPr/>
      </dsp:nvSpPr>
      <dsp:spPr>
        <a:xfrm>
          <a:off x="1755329" y="1437819"/>
          <a:ext cx="1757334" cy="1757334"/>
        </a:xfrm>
        <a:prstGeom prst="gear9">
          <a:avLst/>
        </a:prstGeom>
        <a:solidFill>
          <a:srgbClr val="D3F1FC"/>
        </a:solidFill>
        <a:ln w="12700" cap="flat" cmpd="sng" algn="ctr">
          <a:solidFill>
            <a:srgbClr val="0BA2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prstClr val="black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System security (using e.g. vaults and encryption)</a:t>
          </a:r>
        </a:p>
      </dsp:txBody>
      <dsp:txXfrm>
        <a:off x="2108631" y="1849466"/>
        <a:ext cx="1050730" cy="903306"/>
      </dsp:txXfrm>
    </dsp:sp>
    <dsp:sp modelId="{F0687981-E766-4B28-87B8-BAA7F84945C3}">
      <dsp:nvSpPr>
        <dsp:cNvPr id="0" name=""/>
        <dsp:cNvSpPr/>
      </dsp:nvSpPr>
      <dsp:spPr>
        <a:xfrm>
          <a:off x="732880" y="1022449"/>
          <a:ext cx="1278061" cy="1278061"/>
        </a:xfrm>
        <a:prstGeom prst="gear6">
          <a:avLst/>
        </a:prstGeom>
        <a:solidFill>
          <a:srgbClr val="D3F1FC"/>
        </a:solidFill>
        <a:ln w="12700" cap="flat" cmpd="sng" algn="ctr">
          <a:solidFill>
            <a:srgbClr val="0BA2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prstClr val="black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Fully auditable processes</a:t>
          </a:r>
        </a:p>
      </dsp:txBody>
      <dsp:txXfrm>
        <a:off x="1054636" y="1346149"/>
        <a:ext cx="634549" cy="630661"/>
      </dsp:txXfrm>
    </dsp:sp>
    <dsp:sp modelId="{F580315A-E35D-495D-A18B-498CB16A0D19}">
      <dsp:nvSpPr>
        <dsp:cNvPr id="0" name=""/>
        <dsp:cNvSpPr/>
      </dsp:nvSpPr>
      <dsp:spPr>
        <a:xfrm rot="20700000">
          <a:off x="1448724" y="140717"/>
          <a:ext cx="1252239" cy="1252239"/>
        </a:xfrm>
        <a:prstGeom prst="gear6">
          <a:avLst/>
        </a:prstGeom>
        <a:solidFill>
          <a:srgbClr val="D8D8D8"/>
        </a:solidFill>
        <a:ln w="127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>
              <a:solidFill>
                <a:schemeClr val="bg1"/>
              </a:solidFill>
              <a:latin typeface="Calibri"/>
              <a:ea typeface="+mn-ea"/>
              <a:cs typeface="+mn-cs"/>
              <a:sym typeface="Wingdings" panose="05000000000000000000" pitchFamily="2" charset="2"/>
            </a:rPr>
            <a:t>Cloud-aware policy enforcement </a:t>
          </a:r>
        </a:p>
      </dsp:txBody>
      <dsp:txXfrm rot="-20700000">
        <a:off x="1723377" y="415370"/>
        <a:ext cx="702933" cy="702933"/>
      </dsp:txXfrm>
    </dsp:sp>
    <dsp:sp modelId="{D5F6305B-3D3F-4084-BCC5-FEEE7AA523D3}">
      <dsp:nvSpPr>
        <dsp:cNvPr id="0" name=""/>
        <dsp:cNvSpPr/>
      </dsp:nvSpPr>
      <dsp:spPr>
        <a:xfrm>
          <a:off x="1609548" y="1178645"/>
          <a:ext cx="2249388" cy="2249388"/>
        </a:xfrm>
        <a:prstGeom prst="circularArrow">
          <a:avLst>
            <a:gd name="adj1" fmla="val 4688"/>
            <a:gd name="adj2" fmla="val 299029"/>
            <a:gd name="adj3" fmla="val 2519459"/>
            <a:gd name="adj4" fmla="val 15854201"/>
            <a:gd name="adj5" fmla="val 5469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490E73-95FF-4D33-A974-73B76EB98CCF}">
      <dsp:nvSpPr>
        <dsp:cNvPr id="0" name=""/>
        <dsp:cNvSpPr/>
      </dsp:nvSpPr>
      <dsp:spPr>
        <a:xfrm>
          <a:off x="506537" y="743950"/>
          <a:ext cx="1634321" cy="163432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643691-C80E-4928-A441-1E046BC13E71}">
      <dsp:nvSpPr>
        <dsp:cNvPr id="0" name=""/>
        <dsp:cNvSpPr/>
      </dsp:nvSpPr>
      <dsp:spPr>
        <a:xfrm>
          <a:off x="1159069" y="-129282"/>
          <a:ext cx="1762127" cy="1762127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0092D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26503-FF9C-6249-9C5E-E871F59DF66E}">
      <dsp:nvSpPr>
        <dsp:cNvPr id="0" name=""/>
        <dsp:cNvSpPr/>
      </dsp:nvSpPr>
      <dsp:spPr>
        <a:xfrm>
          <a:off x="1013" y="0"/>
          <a:ext cx="1976362" cy="1579235"/>
        </a:xfrm>
        <a:prstGeom prst="homePlate">
          <a:avLst>
            <a:gd name="adj" fmla="val 25000"/>
          </a:avLst>
        </a:prstGeom>
        <a:solidFill>
          <a:schemeClr val="bg2"/>
        </a:solidFill>
        <a:ln w="50800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6000" tIns="180000" rIns="278887" bIns="25400" numCol="1" spcCol="1270" anchor="t" anchorCtr="0">
          <a:noAutofit/>
        </a:bodyPr>
        <a:lstStyle/>
        <a:p>
          <a:pPr marL="0" lvl="0" indent="0" algn="l" defTabSz="4445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+mn-lt"/>
            </a:rPr>
            <a:t>Provide Offer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Define asset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Create contract definition with policies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Make offer available</a:t>
          </a:r>
        </a:p>
      </dsp:txBody>
      <dsp:txXfrm>
        <a:off x="1013" y="0"/>
        <a:ext cx="1778958" cy="1579235"/>
      </dsp:txXfrm>
    </dsp:sp>
    <dsp:sp modelId="{CE4FB90A-23D3-624D-9472-058615351CBF}">
      <dsp:nvSpPr>
        <dsp:cNvPr id="0" name=""/>
        <dsp:cNvSpPr/>
      </dsp:nvSpPr>
      <dsp:spPr>
        <a:xfrm>
          <a:off x="1583044" y="0"/>
          <a:ext cx="1976362" cy="1579235"/>
        </a:xfrm>
        <a:prstGeom prst="chevron">
          <a:avLst>
            <a:gd name="adj" fmla="val 25000"/>
          </a:avLst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722" tIns="180000" rIns="69722" bIns="25400" numCol="1" spcCol="1270" anchor="t" anchorCtr="0">
          <a:noAutofit/>
        </a:bodyPr>
        <a:lstStyle/>
        <a:p>
          <a:pPr marL="0" lvl="0" indent="0" algn="l" defTabSz="4445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+mn-lt"/>
            </a:rPr>
            <a:t>Initiate Contract Negotiation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Create request (adopt or new)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Select protocol (e.g., IDS)</a:t>
          </a:r>
        </a:p>
      </dsp:txBody>
      <dsp:txXfrm>
        <a:off x="1977853" y="0"/>
        <a:ext cx="1186744" cy="1579235"/>
      </dsp:txXfrm>
    </dsp:sp>
    <dsp:sp modelId="{C15471C6-BFF9-794C-A967-24D4510CC0B1}">
      <dsp:nvSpPr>
        <dsp:cNvPr id="0" name=""/>
        <dsp:cNvSpPr/>
      </dsp:nvSpPr>
      <dsp:spPr>
        <a:xfrm>
          <a:off x="3165083" y="0"/>
          <a:ext cx="1976362" cy="1579235"/>
        </a:xfrm>
        <a:prstGeom prst="chevron">
          <a:avLst>
            <a:gd name="adj" fmla="val 25000"/>
          </a:avLst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4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722" tIns="180000" rIns="69722" bIns="25400" numCol="1" spcCol="1270" anchor="t" anchorCtr="0">
          <a:noAutofit/>
        </a:bodyPr>
        <a:lstStyle/>
        <a:p>
          <a:pPr marL="0" lvl="0" indent="0" algn="l" defTabSz="4445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+mn-lt"/>
            </a:rPr>
            <a:t>Negotiation Phase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Validate contract and policies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Interception by systems/users</a:t>
          </a:r>
        </a:p>
      </dsp:txBody>
      <dsp:txXfrm>
        <a:off x="3559892" y="0"/>
        <a:ext cx="1186744" cy="1579235"/>
      </dsp:txXfrm>
    </dsp:sp>
    <dsp:sp modelId="{06E132D3-40E2-204E-AF8C-A0D9B0AEDE48}">
      <dsp:nvSpPr>
        <dsp:cNvPr id="0" name=""/>
        <dsp:cNvSpPr/>
      </dsp:nvSpPr>
      <dsp:spPr>
        <a:xfrm>
          <a:off x="4747478" y="0"/>
          <a:ext cx="1976362" cy="1579235"/>
        </a:xfrm>
        <a:prstGeom prst="chevron">
          <a:avLst>
            <a:gd name="adj" fmla="val 25000"/>
          </a:avLst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5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722" tIns="180000" rIns="69722" bIns="25400" numCol="1" spcCol="1270" anchor="t" anchorCtr="0">
          <a:noAutofit/>
        </a:bodyPr>
        <a:lstStyle/>
        <a:p>
          <a:pPr marL="0" lvl="0" indent="0" algn="l" defTabSz="4445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+mn-lt"/>
            </a:rPr>
            <a:t>Agreement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Agree on policy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Sign contract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Persist contract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Optionally involve 3</a:t>
          </a:r>
          <a:r>
            <a:rPr lang="en-US" sz="1000" kern="1200" baseline="30000" dirty="0">
              <a:solidFill>
                <a:schemeClr val="bg1"/>
              </a:solidFill>
              <a:latin typeface="+mn-lt"/>
            </a:rPr>
            <a:t>rd</a:t>
          </a:r>
          <a:r>
            <a:rPr lang="en-US" sz="1000" kern="1200" dirty="0">
              <a:solidFill>
                <a:schemeClr val="bg1"/>
              </a:solidFill>
              <a:latin typeface="+mn-lt"/>
            </a:rPr>
            <a:t> party</a:t>
          </a:r>
        </a:p>
      </dsp:txBody>
      <dsp:txXfrm>
        <a:off x="5142287" y="0"/>
        <a:ext cx="1186744" cy="1579235"/>
      </dsp:txXfrm>
    </dsp:sp>
    <dsp:sp modelId="{182A42C9-E9CF-A141-834A-3F05F838D1A7}">
      <dsp:nvSpPr>
        <dsp:cNvPr id="0" name=""/>
        <dsp:cNvSpPr/>
      </dsp:nvSpPr>
      <dsp:spPr>
        <a:xfrm>
          <a:off x="6326388" y="0"/>
          <a:ext cx="1976362" cy="1579235"/>
        </a:xfrm>
        <a:prstGeom prst="chevron">
          <a:avLst>
            <a:gd name="adj" fmla="val 25000"/>
          </a:avLst>
        </a:prstGeom>
        <a:solidFill>
          <a:srgbClr val="0092D2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3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722" tIns="180000" rIns="69722" bIns="25400" numCol="1" spcCol="1270" anchor="t" anchorCtr="0">
          <a:noAutofit/>
        </a:bodyPr>
        <a:lstStyle/>
        <a:p>
          <a:pPr marL="0" lvl="0" indent="0" algn="l" defTabSz="4445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+mn-lt"/>
            </a:rPr>
            <a:t>Data Transfer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Transfer data (via IDS or out-of-band)</a:t>
          </a:r>
        </a:p>
        <a:p>
          <a:pPr marL="180000" lvl="1" indent="-180000" algn="l" defTabSz="4445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000" kern="1200" dirty="0">
              <a:solidFill>
                <a:schemeClr val="bg1"/>
              </a:solidFill>
              <a:latin typeface="+mn-lt"/>
            </a:rPr>
            <a:t>Enforce policies of agreement</a:t>
          </a:r>
        </a:p>
      </dsp:txBody>
      <dsp:txXfrm>
        <a:off x="6721197" y="0"/>
        <a:ext cx="1186744" cy="15792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C82D67-E1B7-C047-BE23-E16A40BF4B75}" type="datetime1">
              <a:rPr lang="de-DE" smtClean="0"/>
              <a:t>11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1212B1-F401-4549-9010-02CF5DE1E2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1834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589FC7-67E3-EB45-B447-CA18EFD33F6C}" type="datetime1">
              <a:rPr lang="de-DE" smtClean="0"/>
              <a:t>11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D99300-C3F4-D945-803E-8391A8FBF9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98553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/>
          </p:cNvSpPr>
          <p:nvPr userDrawn="1"/>
        </p:nvSpPr>
        <p:spPr>
          <a:xfrm>
            <a:off x="7958777" y="4740377"/>
            <a:ext cx="861694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0" y="1709365"/>
            <a:ext cx="9144000" cy="3434135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BA2E3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246705" y="2051050"/>
            <a:ext cx="5679348" cy="961202"/>
          </a:xfrm>
          <a:prstGeom prst="rect">
            <a:avLst/>
          </a:prstGeom>
        </p:spPr>
        <p:txBody>
          <a:bodyPr bIns="0" anchor="b">
            <a:noAutofit/>
          </a:bodyPr>
          <a:lstStyle>
            <a:lvl1pPr algn="r">
              <a:lnSpc>
                <a:spcPct val="80000"/>
              </a:lnSpc>
              <a:spcAft>
                <a:spcPts val="0"/>
              </a:spcAft>
              <a:defRPr sz="3600" b="1" cap="all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PP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84550" y="3987800"/>
            <a:ext cx="2546350" cy="36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80000"/>
              </a:lnSpc>
              <a:buNone/>
              <a:defRPr sz="1000" cap="all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/>
              <a:t>KURZBESCHREIBUNG</a:t>
            </a:r>
          </a:p>
          <a:p>
            <a:pPr lvl="0"/>
            <a:r>
              <a:rPr lang="de-DE" dirty="0"/>
              <a:t>ÜBER MEHRERE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1479" y="3012253"/>
            <a:ext cx="5679348" cy="10263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80000"/>
              </a:lnSpc>
              <a:buNone/>
              <a:defRPr sz="3600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Titelzusatz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484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itel 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18"/>
          <p:cNvSpPr txBox="1"/>
          <p:nvPr userDrawn="1"/>
        </p:nvSpPr>
        <p:spPr>
          <a:xfrm>
            <a:off x="0" y="-1281331"/>
            <a:ext cx="9144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b="1" dirty="0">
                <a:latin typeface="Georgia"/>
                <a:cs typeface="Georgia"/>
              </a:rPr>
              <a:t>Formatfüllendes</a:t>
            </a:r>
            <a:r>
              <a:rPr lang="de-DE" b="1" baseline="0" dirty="0">
                <a:latin typeface="Georgia"/>
                <a:cs typeface="Georgia"/>
              </a:rPr>
              <a:t> Bild</a:t>
            </a:r>
            <a:r>
              <a:rPr lang="de-DE" b="1" dirty="0">
                <a:latin typeface="Georgia"/>
                <a:cs typeface="Georgia"/>
              </a:rPr>
              <a:t> als Folien-Hintergrund einfügen:</a:t>
            </a:r>
          </a:p>
          <a:p>
            <a:pPr lvl="0" algn="ctr"/>
            <a:endParaRPr lang="de-DE" sz="800" b="1" i="0" dirty="0">
              <a:latin typeface="Georgia"/>
              <a:cs typeface="Georgia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i="0" baseline="0" dirty="0">
                <a:latin typeface="Georgia"/>
                <a:cs typeface="Georgia"/>
              </a:rPr>
              <a:t>Rechtsklick auf Folie &gt; Hintergrund formatieren &gt; Bild o. Struktur &gt; Bild auswählen</a:t>
            </a:r>
            <a:endParaRPr lang="de-DE" sz="1800" i="0" dirty="0">
              <a:latin typeface="Georgia"/>
              <a:cs typeface="Georgia"/>
            </a:endParaRPr>
          </a:p>
          <a:p>
            <a:pPr lvl="0" algn="ctr"/>
            <a:r>
              <a:rPr lang="de-DE" i="1" dirty="0">
                <a:latin typeface="Georgia"/>
                <a:cs typeface="Georgia"/>
              </a:rPr>
              <a:t>Die</a:t>
            </a:r>
            <a:r>
              <a:rPr lang="de-DE" i="1" baseline="0" dirty="0">
                <a:latin typeface="Georgia"/>
                <a:cs typeface="Georgia"/>
              </a:rPr>
              <a:t> Bilder müsse ein </a:t>
            </a:r>
            <a:r>
              <a:rPr lang="de-DE" i="1" dirty="0">
                <a:latin typeface="Georgia"/>
                <a:cs typeface="Georgia"/>
              </a:rPr>
              <a:t>Seitenverhältnis von</a:t>
            </a:r>
            <a:r>
              <a:rPr lang="de-DE" i="1" baseline="0" dirty="0">
                <a:latin typeface="Georgia"/>
                <a:cs typeface="Georgia"/>
              </a:rPr>
              <a:t> 16:9 haben!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3933147"/>
            <a:ext cx="7016750" cy="59689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3336246"/>
            <a:ext cx="7012344" cy="5969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73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" b="24343"/>
          <a:stretch/>
        </p:blipFill>
        <p:spPr>
          <a:xfrm>
            <a:off x="0" y="-20537"/>
            <a:ext cx="9144000" cy="5184576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prstClr val="black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9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000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Insert Picture Here.png"/>
          <p:cNvSpPr>
            <a:spLocks noGrp="1"/>
          </p:cNvSpPr>
          <p:nvPr>
            <p:ph type="pic" sz="quarter" idx="13"/>
          </p:nvPr>
        </p:nvSpPr>
        <p:spPr>
          <a:xfrm>
            <a:off x="47625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7" name="Insert Picture Here.png"/>
          <p:cNvSpPr>
            <a:spLocks noGrp="1"/>
          </p:cNvSpPr>
          <p:nvPr>
            <p:ph type="pic" sz="quarter" idx="14"/>
          </p:nvPr>
        </p:nvSpPr>
        <p:spPr>
          <a:xfrm>
            <a:off x="2524125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8" name="Insert Picture Here.png"/>
          <p:cNvSpPr>
            <a:spLocks noGrp="1"/>
          </p:cNvSpPr>
          <p:nvPr>
            <p:ph type="pic" sz="quarter" idx="15"/>
          </p:nvPr>
        </p:nvSpPr>
        <p:spPr>
          <a:xfrm>
            <a:off x="457200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9" name="Insert Picture Here.png"/>
          <p:cNvSpPr>
            <a:spLocks noGrp="1"/>
          </p:cNvSpPr>
          <p:nvPr>
            <p:ph type="pic" sz="quarter" idx="16"/>
          </p:nvPr>
        </p:nvSpPr>
        <p:spPr>
          <a:xfrm>
            <a:off x="661757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0" name="Insert Picture Here.png"/>
          <p:cNvSpPr>
            <a:spLocks noGrp="1"/>
          </p:cNvSpPr>
          <p:nvPr>
            <p:ph type="pic" sz="quarter" idx="17"/>
          </p:nvPr>
        </p:nvSpPr>
        <p:spPr>
          <a:xfrm>
            <a:off x="47740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1" name="Insert Picture Here.png"/>
          <p:cNvSpPr>
            <a:spLocks noGrp="1"/>
          </p:cNvSpPr>
          <p:nvPr>
            <p:ph type="pic" sz="quarter" idx="18"/>
          </p:nvPr>
        </p:nvSpPr>
        <p:spPr>
          <a:xfrm>
            <a:off x="2525278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2" name="Insert Picture Here.png"/>
          <p:cNvSpPr>
            <a:spLocks noGrp="1"/>
          </p:cNvSpPr>
          <p:nvPr>
            <p:ph type="pic" sz="quarter" idx="19"/>
          </p:nvPr>
        </p:nvSpPr>
        <p:spPr>
          <a:xfrm>
            <a:off x="457315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3" name="Insert Picture Here.png"/>
          <p:cNvSpPr>
            <a:spLocks noGrp="1"/>
          </p:cNvSpPr>
          <p:nvPr>
            <p:ph type="pic" sz="quarter" idx="20"/>
          </p:nvPr>
        </p:nvSpPr>
        <p:spPr>
          <a:xfrm>
            <a:off x="661872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62937" y="476250"/>
            <a:ext cx="404813" cy="21431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378490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5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794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6727" y="1329928"/>
            <a:ext cx="8209731" cy="3186038"/>
          </a:xfrm>
        </p:spPr>
        <p:txBody>
          <a:bodyPr/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5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6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481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 Headline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</a:t>
            </a:r>
            <a:r>
              <a:rPr lang="de-DE" dirty="0"/>
              <a:t> Headli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099" y="154696"/>
            <a:ext cx="1568901" cy="569971"/>
          </a:xfrm>
          <a:prstGeom prst="rect">
            <a:avLst/>
          </a:prstGeom>
        </p:spPr>
      </p:pic>
      <p:cxnSp>
        <p:nvCxnSpPr>
          <p:cNvPr id="32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304789" y="4733091"/>
            <a:ext cx="17968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BA2E3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34" name="Foliennummernplatzhalter 5"/>
          <p:cNvSpPr txBox="1">
            <a:spLocks/>
          </p:cNvSpPr>
          <p:nvPr userDrawn="1"/>
        </p:nvSpPr>
        <p:spPr>
          <a:xfrm>
            <a:off x="7763408" y="4770440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>
                <a:solidFill>
                  <a:srgbClr val="0BA2E3"/>
                </a:solidFill>
              </a:rPr>
              <a:t>‹Nr.›</a:t>
            </a:fld>
            <a:endParaRPr lang="de-DE" dirty="0">
              <a:solidFill>
                <a:srgbClr val="0BA2E3"/>
              </a:solidFill>
            </a:endParaRPr>
          </a:p>
        </p:txBody>
      </p:sp>
      <p:sp>
        <p:nvSpPr>
          <p:cNvPr id="35" name="Shape"/>
          <p:cNvSpPr/>
          <p:nvPr userDrawn="1"/>
        </p:nvSpPr>
        <p:spPr>
          <a:xfrm>
            <a:off x="3007576" y="4727768"/>
            <a:ext cx="261111" cy="2124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95" extrusionOk="0">
                <a:moveTo>
                  <a:pt x="14735" y="0"/>
                </a:moveTo>
                <a:cubicBezTo>
                  <a:pt x="16497" y="0"/>
                  <a:pt x="17287" y="960"/>
                  <a:pt x="18294" y="1876"/>
                </a:cubicBezTo>
                <a:cubicBezTo>
                  <a:pt x="19048" y="1876"/>
                  <a:pt x="20055" y="1265"/>
                  <a:pt x="20558" y="960"/>
                </a:cubicBezTo>
                <a:cubicBezTo>
                  <a:pt x="20845" y="655"/>
                  <a:pt x="20845" y="655"/>
                  <a:pt x="21097" y="655"/>
                </a:cubicBezTo>
                <a:cubicBezTo>
                  <a:pt x="20845" y="1571"/>
                  <a:pt x="20306" y="2487"/>
                  <a:pt x="19551" y="3098"/>
                </a:cubicBezTo>
                <a:cubicBezTo>
                  <a:pt x="19551" y="3098"/>
                  <a:pt x="19300" y="3404"/>
                  <a:pt x="19048" y="3404"/>
                </a:cubicBezTo>
                <a:cubicBezTo>
                  <a:pt x="20055" y="3404"/>
                  <a:pt x="20845" y="2793"/>
                  <a:pt x="21600" y="2793"/>
                </a:cubicBezTo>
                <a:cubicBezTo>
                  <a:pt x="21348" y="3404"/>
                  <a:pt x="20845" y="4320"/>
                  <a:pt x="20055" y="4625"/>
                </a:cubicBezTo>
                <a:cubicBezTo>
                  <a:pt x="19803" y="4931"/>
                  <a:pt x="19803" y="5280"/>
                  <a:pt x="19551" y="5585"/>
                </a:cubicBezTo>
                <a:cubicBezTo>
                  <a:pt x="19551" y="6807"/>
                  <a:pt x="19551" y="7724"/>
                  <a:pt x="19300" y="8945"/>
                </a:cubicBezTo>
                <a:cubicBezTo>
                  <a:pt x="18042" y="14836"/>
                  <a:pt x="15239" y="19156"/>
                  <a:pt x="10674" y="20989"/>
                </a:cubicBezTo>
                <a:cubicBezTo>
                  <a:pt x="8877" y="21600"/>
                  <a:pt x="6110" y="21600"/>
                  <a:pt x="4313" y="21295"/>
                </a:cubicBezTo>
                <a:cubicBezTo>
                  <a:pt x="3306" y="20989"/>
                  <a:pt x="2552" y="20684"/>
                  <a:pt x="1509" y="20073"/>
                </a:cubicBezTo>
                <a:cubicBezTo>
                  <a:pt x="1258" y="19767"/>
                  <a:pt x="755" y="19767"/>
                  <a:pt x="503" y="19462"/>
                </a:cubicBezTo>
                <a:cubicBezTo>
                  <a:pt x="252" y="19156"/>
                  <a:pt x="252" y="19156"/>
                  <a:pt x="0" y="19156"/>
                </a:cubicBezTo>
                <a:cubicBezTo>
                  <a:pt x="503" y="19156"/>
                  <a:pt x="1006" y="19156"/>
                  <a:pt x="1509" y="19156"/>
                </a:cubicBezTo>
                <a:cubicBezTo>
                  <a:pt x="1797" y="19156"/>
                  <a:pt x="2300" y="19156"/>
                  <a:pt x="2803" y="18851"/>
                </a:cubicBezTo>
                <a:cubicBezTo>
                  <a:pt x="3810" y="18502"/>
                  <a:pt x="4564" y="18196"/>
                  <a:pt x="5319" y="17891"/>
                </a:cubicBezTo>
                <a:cubicBezTo>
                  <a:pt x="5858" y="17585"/>
                  <a:pt x="6361" y="17280"/>
                  <a:pt x="6613" y="16669"/>
                </a:cubicBezTo>
                <a:cubicBezTo>
                  <a:pt x="6110" y="16669"/>
                  <a:pt x="5607" y="16669"/>
                  <a:pt x="5319" y="16669"/>
                </a:cubicBezTo>
                <a:cubicBezTo>
                  <a:pt x="3810" y="16058"/>
                  <a:pt x="3055" y="14836"/>
                  <a:pt x="2552" y="12960"/>
                </a:cubicBezTo>
                <a:cubicBezTo>
                  <a:pt x="2803" y="13265"/>
                  <a:pt x="4061" y="13265"/>
                  <a:pt x="4313" y="12960"/>
                </a:cubicBezTo>
                <a:cubicBezTo>
                  <a:pt x="3810" y="12960"/>
                  <a:pt x="3306" y="12655"/>
                  <a:pt x="3055" y="12349"/>
                </a:cubicBezTo>
                <a:cubicBezTo>
                  <a:pt x="1797" y="11433"/>
                  <a:pt x="755" y="9905"/>
                  <a:pt x="755" y="7724"/>
                </a:cubicBezTo>
                <a:cubicBezTo>
                  <a:pt x="1006" y="7724"/>
                  <a:pt x="1258" y="7724"/>
                  <a:pt x="1258" y="8029"/>
                </a:cubicBezTo>
                <a:cubicBezTo>
                  <a:pt x="1509" y="8029"/>
                  <a:pt x="1797" y="8029"/>
                  <a:pt x="2300" y="8335"/>
                </a:cubicBezTo>
                <a:lnTo>
                  <a:pt x="2803" y="8335"/>
                </a:lnTo>
                <a:cubicBezTo>
                  <a:pt x="2552" y="8029"/>
                  <a:pt x="2300" y="7724"/>
                  <a:pt x="2049" y="7418"/>
                </a:cubicBezTo>
                <a:cubicBezTo>
                  <a:pt x="1258" y="6196"/>
                  <a:pt x="503" y="4625"/>
                  <a:pt x="1006" y="2487"/>
                </a:cubicBezTo>
                <a:cubicBezTo>
                  <a:pt x="1006" y="1876"/>
                  <a:pt x="1258" y="1571"/>
                  <a:pt x="1509" y="1265"/>
                </a:cubicBezTo>
                <a:cubicBezTo>
                  <a:pt x="1509" y="1265"/>
                  <a:pt x="1797" y="1571"/>
                  <a:pt x="2049" y="1571"/>
                </a:cubicBezTo>
                <a:cubicBezTo>
                  <a:pt x="2300" y="2182"/>
                  <a:pt x="2803" y="2793"/>
                  <a:pt x="3306" y="3098"/>
                </a:cubicBezTo>
                <a:cubicBezTo>
                  <a:pt x="4816" y="4625"/>
                  <a:pt x="6361" y="5585"/>
                  <a:pt x="8626" y="6502"/>
                </a:cubicBezTo>
                <a:cubicBezTo>
                  <a:pt x="9380" y="6502"/>
                  <a:pt x="9919" y="6807"/>
                  <a:pt x="10674" y="6807"/>
                </a:cubicBezTo>
                <a:cubicBezTo>
                  <a:pt x="10423" y="5891"/>
                  <a:pt x="10423" y="4931"/>
                  <a:pt x="10674" y="4320"/>
                </a:cubicBezTo>
                <a:cubicBezTo>
                  <a:pt x="11177" y="2487"/>
                  <a:pt x="11932" y="1265"/>
                  <a:pt x="13226" y="655"/>
                </a:cubicBezTo>
                <a:cubicBezTo>
                  <a:pt x="13478" y="349"/>
                  <a:pt x="13981" y="349"/>
                  <a:pt x="14232" y="349"/>
                </a:cubicBezTo>
                <a:cubicBezTo>
                  <a:pt x="14484" y="349"/>
                  <a:pt x="14484" y="0"/>
                  <a:pt x="14735" y="0"/>
                </a:cubicBezTo>
              </a:path>
            </a:pathLst>
          </a:custGeom>
          <a:solidFill>
            <a:srgbClr val="0BA2E3"/>
          </a:solidFill>
          <a:ln w="12700">
            <a:miter lim="400000"/>
          </a:ln>
        </p:spPr>
        <p:txBody>
          <a:bodyPr lIns="45719" rIns="45719" anchor="ctr"/>
          <a:lstStyle/>
          <a:p>
            <a:pPr algn="l">
              <a:lnSpc>
                <a:spcPct val="80000"/>
              </a:lnSpc>
              <a:defRPr sz="7000" cap="all" spc="140">
                <a:solidFill>
                  <a:srgbClr val="FFFFFF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pPr>
            <a:endParaRPr/>
          </a:p>
        </p:txBody>
      </p:sp>
      <p:sp>
        <p:nvSpPr>
          <p:cNvPr id="36" name="Rechteck 35"/>
          <p:cNvSpPr/>
          <p:nvPr userDrawn="1"/>
        </p:nvSpPr>
        <p:spPr>
          <a:xfrm>
            <a:off x="3244312" y="4732753"/>
            <a:ext cx="100700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e-DE" sz="750" kern="1200" dirty="0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@</a:t>
            </a:r>
            <a:r>
              <a:rPr lang="de-DE" sz="750" kern="1200" dirty="0" err="1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ids_association</a:t>
            </a:r>
            <a:endParaRPr lang="de-DE" sz="750" kern="1200" dirty="0">
              <a:solidFill>
                <a:schemeClr val="tx1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37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409005" y="4730009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#</a:t>
            </a:r>
            <a:r>
              <a:rPr lang="de-DE" dirty="0" err="1"/>
              <a:t>eventname</a:t>
            </a:r>
            <a:r>
              <a:rPr lang="de-DE" dirty="0"/>
              <a:t> (...)</a:t>
            </a:r>
          </a:p>
        </p:txBody>
      </p:sp>
      <p:sp>
        <p:nvSpPr>
          <p:cNvPr id="38" name="Textplatzhalt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208830" y="4731346"/>
            <a:ext cx="1183345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r>
              <a:rPr lang="de-DE" dirty="0"/>
              <a:t>@</a:t>
            </a:r>
            <a:r>
              <a:rPr lang="de-DE" dirty="0" err="1"/>
              <a:t>yourtwitteraccou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469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04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-Titel-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4746" y="1079500"/>
            <a:ext cx="8428404" cy="11049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1" cap="all">
                <a:solidFill>
                  <a:srgbClr val="0BA2E3"/>
                </a:solidFill>
              </a:defRPr>
            </a:lvl1pPr>
          </a:lstStyle>
          <a:p>
            <a:r>
              <a:rPr lang="de-DE" dirty="0"/>
              <a:t>Kapitel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33748" y="3342261"/>
            <a:ext cx="5562600" cy="1261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aseline="0">
                <a:solidFill>
                  <a:srgbClr val="0092D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25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" name="Textfeld 27"/>
          <p:cNvSpPr txBox="1"/>
          <p:nvPr userDrawn="1"/>
        </p:nvSpPr>
        <p:spPr>
          <a:xfrm>
            <a:off x="304789" y="4710351"/>
            <a:ext cx="16574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80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33"/>
          <p:cNvSpPr>
            <a:spLocks noGrp="1"/>
          </p:cNvSpPr>
          <p:nvPr>
            <p:ph type="body" sz="quarter" idx="17" hasCustomPrompt="1"/>
          </p:nvPr>
        </p:nvSpPr>
        <p:spPr>
          <a:xfrm>
            <a:off x="265112" y="2260599"/>
            <a:ext cx="8428037" cy="110706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36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Kap.titelzusatz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894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gerüc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304789" y="4710351"/>
            <a:ext cx="165745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75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7" hasCustomPrompt="1"/>
          </p:nvPr>
        </p:nvSpPr>
        <p:spPr>
          <a:xfrm>
            <a:off x="3128848" y="1714499"/>
            <a:ext cx="5562600" cy="25158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4" name="Rechteck 13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103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282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>
          <a:xfrm>
            <a:off x="419844" y="1277599"/>
            <a:ext cx="8424936" cy="348719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002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78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41" b="40175"/>
          <a:stretch/>
        </p:blipFill>
        <p:spPr>
          <a:xfrm>
            <a:off x="-3616" y="-20537"/>
            <a:ext cx="9147615" cy="5184576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10" name="Rechteck 9"/>
          <p:cNvSpPr/>
          <p:nvPr userDrawn="1"/>
        </p:nvSpPr>
        <p:spPr>
          <a:xfrm>
            <a:off x="-3615" y="-20537"/>
            <a:ext cx="9147615" cy="5184576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778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0"/>
          <a:stretch/>
        </p:blipFill>
        <p:spPr>
          <a:xfrm>
            <a:off x="-1370" y="-1"/>
            <a:ext cx="9145370" cy="5164039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-1614" y="-23805"/>
            <a:ext cx="9145614" cy="516730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301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46"/>
          <a:stretch/>
        </p:blipFill>
        <p:spPr>
          <a:xfrm>
            <a:off x="0" y="-20538"/>
            <a:ext cx="9145614" cy="516403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-23805"/>
            <a:ext cx="9145614" cy="5167305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492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1517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831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3" r:id="rId3"/>
    <p:sldLayoutId id="2147483654" r:id="rId4"/>
    <p:sldLayoutId id="2147483764" r:id="rId5"/>
    <p:sldLayoutId id="2147483659" r:id="rId6"/>
    <p:sldLayoutId id="2147483768" r:id="rId7"/>
    <p:sldLayoutId id="2147483767" r:id="rId8"/>
    <p:sldLayoutId id="2147483766" r:id="rId9"/>
    <p:sldLayoutId id="2147483670" r:id="rId10"/>
    <p:sldLayoutId id="2147483765" r:id="rId11"/>
    <p:sldLayoutId id="2147483754" r:id="rId12"/>
    <p:sldLayoutId id="2147483758" r:id="rId13"/>
    <p:sldLayoutId id="2147483759" r:id="rId14"/>
    <p:sldLayoutId id="2147483769" r:id="rId1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 cap="all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8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i="1" kern="1200" cap="all">
          <a:solidFill>
            <a:schemeClr val="tx1"/>
          </a:solidFill>
          <a:latin typeface="Georgia"/>
          <a:ea typeface="+mn-ea"/>
          <a:cs typeface="Georg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i="1" kern="1200">
          <a:solidFill>
            <a:schemeClr val="tx1"/>
          </a:solidFill>
          <a:latin typeface="Georgia"/>
          <a:ea typeface="+mn-ea"/>
          <a:cs typeface="Georg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github.com/International-Data-Spaces-Association/IDS-RAM_4_0/blob/main/documentation/3_Layers_of_the_Reference_Architecture_Model/3_3_Process_Layer/3_3_3_Contract_Negotiation.md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international-data-spaces-association.github.io/DataspaceConnector/Documentation/v6/UsageControl" TargetMode="Externa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internationaldataspaces.org/wp-content/uploads/dlm_uploads/IDSA-Position-Paper-Usage-Control-in-the-IDS-V3..pdf" TargetMode="External"/><Relationship Id="rId2" Type="http://schemas.openxmlformats.org/officeDocument/2006/relationships/hyperlink" Target="http://docs.oasis-open.org/xacml/3.0/xacml-3.0-core-spec-cs-01-en.pdf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clipse-dataspaceconnector/Collateral/blob/main/Events/Hackathons/2022-03%20Gaia-X%20Hackathon%20No.%203/2022-03-29%20EDC-Extension%20ODRL-ALFA.pdf" TargetMode="External"/><Relationship Id="rId2" Type="http://schemas.openxmlformats.org/officeDocument/2006/relationships/hyperlink" Target="https://github.com/eclipse-dataspaceconnector/Collateral/blob/main/Events/Hackathons/2021-12%20Gaia-X%20Hackathon%20No.%202/2021-12-02%20UCS-Extension%20Result.pdf" TargetMode="Externa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clipse-dataspaceconnector/Collateral/tree/main/Work%20Content/Usage%20Control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eclipse-dataspaceconnector/DataSpaceConnector/blob/main/docs/Policies.md" TargetMode="External"/><Relationship Id="rId3" Type="http://schemas.openxmlformats.org/officeDocument/2006/relationships/hyperlink" Target="https://github.com/eclipse-dataspaceconnector/DataSpaceConnector/discussions/1229" TargetMode="External"/><Relationship Id="rId7" Type="http://schemas.openxmlformats.org/officeDocument/2006/relationships/hyperlink" Target="https://github.com/eclipse-dataspaceconnector/DataSpaceConnector/issues/857" TargetMode="External"/><Relationship Id="rId2" Type="http://schemas.openxmlformats.org/officeDocument/2006/relationships/hyperlink" Target="https://github.com/eclipse-dataspaceconnector/DataSpaceConnector/discussions/878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eclipse-dataspaceconnector/DataSpaceConnector/discussions/742" TargetMode="External"/><Relationship Id="rId11" Type="http://schemas.openxmlformats.org/officeDocument/2006/relationships/hyperlink" Target="https://github.com/eclipse-dataspaceconnector/DataSpaceConnector/tree/main/docs/developer/decision-records/2022-03-15-policy-scopes" TargetMode="External"/><Relationship Id="rId5" Type="http://schemas.openxmlformats.org/officeDocument/2006/relationships/hyperlink" Target="https://github.com/eclipse-dataspaceconnector/DataSpaceConnector/discussions/447" TargetMode="External"/><Relationship Id="rId10" Type="http://schemas.openxmlformats.org/officeDocument/2006/relationships/hyperlink" Target="https://github.com/eclipse-dataspaceconnector/DataSpaceConnector/blob/main/docs/architecture/contracts.md" TargetMode="External"/><Relationship Id="rId4" Type="http://schemas.openxmlformats.org/officeDocument/2006/relationships/hyperlink" Target="https://github.com/eclipse-dataspaceconnector/DataSpaceConnector/discussions/792" TargetMode="External"/><Relationship Id="rId9" Type="http://schemas.openxmlformats.org/officeDocument/2006/relationships/hyperlink" Target="https://github.com/eclipse-dataspaceconnector/DataSpaceConnector/blob/main/docs/domain-model.md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clipse-dataspaceconnector/DataSpaceConnector/blob/main/docs/domain-model.md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>
          <a:xfrm>
            <a:off x="304800" y="3933147"/>
            <a:ext cx="8443664" cy="596899"/>
          </a:xfrm>
        </p:spPr>
        <p:txBody>
          <a:bodyPr>
            <a:normAutofit/>
          </a:bodyPr>
          <a:lstStyle/>
          <a:p>
            <a:r>
              <a:rPr lang="en-GB" dirty="0"/>
              <a:t>Data Usage Control with the EDC</a:t>
            </a:r>
          </a:p>
          <a:p>
            <a:endParaRPr lang="en-GB" sz="13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GB" sz="13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a Pampus</a:t>
            </a:r>
            <a:endParaRPr lang="en-GB" sz="11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1800" dirty="0">
                <a:solidFill>
                  <a:schemeClr val="bg1"/>
                </a:solidFill>
              </a:rPr>
              <a:t>International Data Spaces</a:t>
            </a:r>
          </a:p>
        </p:txBody>
      </p:sp>
      <p:sp>
        <p:nvSpPr>
          <p:cNvPr id="4" name="Textplatzhalter 1"/>
          <p:cNvSpPr txBox="1">
            <a:spLocks/>
          </p:cNvSpPr>
          <p:nvPr/>
        </p:nvSpPr>
        <p:spPr>
          <a:xfrm>
            <a:off x="304800" y="4259465"/>
            <a:ext cx="8443664" cy="2160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lnSpc>
                <a:spcPct val="60000"/>
              </a:lnSpc>
              <a:spcBef>
                <a:spcPct val="20000"/>
              </a:spcBef>
              <a:buFont typeface="Arial"/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i="1" kern="1200" cap="all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i="1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3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								</a:t>
            </a:r>
            <a:r>
              <a:rPr lang="en-GB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Dortmund, May 11</a:t>
            </a:r>
            <a:r>
              <a:rPr lang="en-GB" sz="1200" i="1" baseline="30000" dirty="0">
                <a:solidFill>
                  <a:schemeClr val="bg1"/>
                </a:solidFill>
                <a:latin typeface="Georgia" panose="02040502050405020303" pitchFamily="18" charset="0"/>
              </a:rPr>
              <a:t>TH</a:t>
            </a:r>
            <a:r>
              <a:rPr lang="en-GB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, 2022</a:t>
            </a:r>
            <a:endParaRPr lang="en-GB" sz="11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2265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ract</a:t>
            </a:r>
            <a:r>
              <a:rPr lang="de-DE" dirty="0"/>
              <a:t> </a:t>
            </a:r>
            <a:r>
              <a:rPr lang="de-DE" dirty="0" err="1"/>
              <a:t>Negotia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State machine architecture (asynchronous processing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Protocol: IDS multipart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Following the sequences defined in </a:t>
            </a:r>
            <a:r>
              <a:rPr lang="en-US" sz="1200" dirty="0">
                <a:hlinkClick r:id="rId2"/>
              </a:rPr>
              <a:t>RAM v4.0</a:t>
            </a:r>
            <a:endParaRPr lang="en-US" sz="1200" dirty="0"/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8732083-9384-4A89-A4D2-2FBD139DD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2724" y="1117601"/>
            <a:ext cx="789699" cy="339836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6CC1219-480E-4659-8C60-E07F70C120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7254" y="1117600"/>
            <a:ext cx="789699" cy="263720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D584031-3FC9-4DE0-93EC-11A1B71A0D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3745" y="2614916"/>
            <a:ext cx="1994148" cy="196374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6138F2D-507F-4857-A040-645579C62D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1784" y="1117601"/>
            <a:ext cx="1433945" cy="3505200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0843322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588149-83B7-4132-A116-25EA8A9153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Policy </a:t>
            </a:r>
            <a:r>
              <a:rPr lang="de-DE" dirty="0" err="1"/>
              <a:t>enforcement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2200C4-216E-4045-AA18-7A994045B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clipse</a:t>
            </a:r>
            <a:r>
              <a:rPr lang="de-DE" dirty="0"/>
              <a:t> </a:t>
            </a:r>
            <a:r>
              <a:rPr lang="de-DE" dirty="0" err="1"/>
              <a:t>dataspace</a:t>
            </a:r>
            <a:r>
              <a:rPr lang="de-DE" dirty="0"/>
              <a:t> Connect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110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erfaces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DEE50AD-7BF3-42AC-94FE-1D9EB241149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80921" y="1203598"/>
            <a:ext cx="7582157" cy="3279576"/>
          </a:xfrm>
          <a:prstGeom prst="rect">
            <a:avLst/>
          </a:prstGeom>
        </p:spPr>
      </p:pic>
      <p:pic>
        <p:nvPicPr>
          <p:cNvPr id="7" name="Grafik 6" descr="Sperren mit einfarbiger Füllung">
            <a:extLst>
              <a:ext uri="{FF2B5EF4-FFF2-40B4-BE49-F238E27FC236}">
                <a16:creationId xmlns:a16="http://schemas.microsoft.com/office/drawing/2014/main" id="{949880D7-6904-429A-B44C-1847A1F28C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04046" y="3579862"/>
            <a:ext cx="360040" cy="360040"/>
          </a:xfrm>
          <a:prstGeom prst="rect">
            <a:avLst/>
          </a:prstGeom>
        </p:spPr>
      </p:pic>
      <p:pic>
        <p:nvPicPr>
          <p:cNvPr id="14" name="Grafik 13" descr="Sperren mit einfarbiger Füllung">
            <a:extLst>
              <a:ext uri="{FF2B5EF4-FFF2-40B4-BE49-F238E27FC236}">
                <a16:creationId xmlns:a16="http://schemas.microsoft.com/office/drawing/2014/main" id="{45F0A440-4006-421C-9E5C-A6E954D34C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35357" y="3939902"/>
            <a:ext cx="360040" cy="360040"/>
          </a:xfrm>
          <a:prstGeom prst="rect">
            <a:avLst/>
          </a:prstGeom>
        </p:spPr>
      </p:pic>
      <p:pic>
        <p:nvPicPr>
          <p:cNvPr id="16" name="Grafik 15" descr="Sperren mit einfarbiger Füllung">
            <a:extLst>
              <a:ext uri="{FF2B5EF4-FFF2-40B4-BE49-F238E27FC236}">
                <a16:creationId xmlns:a16="http://schemas.microsoft.com/office/drawing/2014/main" id="{8ED15B39-6EF4-4BB2-BFD6-663A8D444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85232" y="2637966"/>
            <a:ext cx="360040" cy="360040"/>
          </a:xfrm>
          <a:prstGeom prst="rect">
            <a:avLst/>
          </a:prstGeom>
        </p:spPr>
      </p:pic>
      <p:pic>
        <p:nvPicPr>
          <p:cNvPr id="17" name="Grafik 16" descr="Sperren mit einfarbiger Füllung">
            <a:extLst>
              <a:ext uri="{FF2B5EF4-FFF2-40B4-BE49-F238E27FC236}">
                <a16:creationId xmlns:a16="http://schemas.microsoft.com/office/drawing/2014/main" id="{69400B41-EC64-4BA3-9D76-52E45991BC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40450" y="3574194"/>
            <a:ext cx="360040" cy="360040"/>
          </a:xfrm>
          <a:prstGeom prst="rect">
            <a:avLst/>
          </a:prstGeom>
        </p:spPr>
      </p:pic>
      <p:pic>
        <p:nvPicPr>
          <p:cNvPr id="19" name="Grafik 18" descr="Sperren mit einfarbiger Füllung">
            <a:extLst>
              <a:ext uri="{FF2B5EF4-FFF2-40B4-BE49-F238E27FC236}">
                <a16:creationId xmlns:a16="http://schemas.microsoft.com/office/drawing/2014/main" id="{6445E0AB-4753-4438-B718-DCA882D172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44135" y="2637966"/>
            <a:ext cx="360040" cy="36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921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SC vs. EDC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1200" b="1" dirty="0"/>
              <a:t>Dataspace Connector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Fixed implementation (and interpretation) of selected IDS usage control classe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Restriction: data cannot leave the connector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US" sz="1200" dirty="0"/>
          </a:p>
          <a:p>
            <a:pPr hangingPunct="0"/>
            <a:r>
              <a:rPr lang="en-US" sz="1200" b="1" dirty="0"/>
              <a:t>Eclipse Dataspace Connector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Modular implementation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Policy engine with fixed interface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Supported policies depend on the deployment/setup/extension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Easily replaceable and expandable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DD9BC6C6-8D08-4941-8503-6A035CD76445}"/>
              </a:ext>
            </a:extLst>
          </p:cNvPr>
          <p:cNvSpPr txBox="1">
            <a:spLocks/>
          </p:cNvSpPr>
          <p:nvPr/>
        </p:nvSpPr>
        <p:spPr bwMode="gray">
          <a:xfrm>
            <a:off x="1907704" y="4735969"/>
            <a:ext cx="6461452" cy="1305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hlinkClick r:id="rId2"/>
              </a:rPr>
              <a:t>https://international-data-spaces-association.github.io/DataspaceConnector/Documentation/v6/UsageControl</a:t>
            </a:r>
            <a:r>
              <a:rPr lang="en-US" sz="800" dirty="0"/>
              <a:t> </a:t>
            </a:r>
            <a:r>
              <a:rPr lang="de-DE" dirty="0"/>
              <a:t>(</a:t>
            </a:r>
            <a:r>
              <a:rPr lang="de-DE" dirty="0" err="1"/>
              <a:t>accessed</a:t>
            </a:r>
            <a:r>
              <a:rPr lang="de-DE" dirty="0"/>
              <a:t>: 09.05.2022)</a:t>
            </a:r>
          </a:p>
        </p:txBody>
      </p:sp>
    </p:spTree>
    <p:extLst>
      <p:ext uri="{BB962C8B-B14F-4D97-AF65-F5344CB8AC3E}">
        <p14:creationId xmlns:p14="http://schemas.microsoft.com/office/powerpoint/2010/main" val="17316715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7722D6A0-0873-435D-8CFC-4D5570087964}"/>
              </a:ext>
            </a:extLst>
          </p:cNvPr>
          <p:cNvSpPr/>
          <p:nvPr/>
        </p:nvSpPr>
        <p:spPr>
          <a:xfrm>
            <a:off x="395020" y="3355980"/>
            <a:ext cx="8302751" cy="1075353"/>
          </a:xfrm>
          <a:prstGeom prst="rect">
            <a:avLst/>
          </a:prstGeom>
          <a:solidFill>
            <a:srgbClr val="D3F1FC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118310C-1344-4E8E-8544-BBD7DE6B2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scopes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CF3F26-55A4-4F68-9D42-2AB2E0C748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efinition</a:t>
            </a:r>
            <a:endParaRPr lang="en-GB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18374E4-C323-4564-A742-B6103CB4B8E8}"/>
              </a:ext>
            </a:extLst>
          </p:cNvPr>
          <p:cNvSpPr/>
          <p:nvPr/>
        </p:nvSpPr>
        <p:spPr>
          <a:xfrm>
            <a:off x="395021" y="1727180"/>
            <a:ext cx="830275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Assumption 1: </a:t>
            </a:r>
            <a:r>
              <a:rPr lang="en-GB" sz="1200" dirty="0"/>
              <a:t>Policy rules may only be applicable in certain runtime contexts.</a:t>
            </a:r>
            <a:endParaRPr lang="en-US" sz="1200" dirty="0"/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Example: “Data must be anonymized.”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May be applicable to policy evaluation when a resource is provisioned 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May not be applicable during data transfer</a:t>
            </a:r>
            <a:endParaRPr lang="en-US" sz="1200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Assumption 2: </a:t>
            </a:r>
            <a:r>
              <a:rPr lang="en-GB" sz="1200" dirty="0"/>
              <a:t>Policy rules may have different implementation semantics in certain runtime contexts.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Example: “</a:t>
            </a:r>
            <a:r>
              <a:rPr lang="en-GB" sz="1200" dirty="0"/>
              <a:t>Data must remain in EU-based compute environments.</a:t>
            </a:r>
            <a:r>
              <a:rPr lang="en-US" sz="1200" dirty="0"/>
              <a:t>”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When this rule is evaluated during authorization, a verifiable credential may be checked. 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When data transfer occurs, this rule may require data to be stored in a particular cloud region.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endParaRPr lang="en-GB" sz="1200" dirty="0"/>
          </a:p>
          <a:p>
            <a:pPr hangingPunct="0"/>
            <a:r>
              <a:rPr lang="en-US" sz="1200" b="1" dirty="0"/>
              <a:t>Policy Scopes </a:t>
            </a:r>
            <a:r>
              <a:rPr lang="en-US" sz="1200" dirty="0"/>
              <a:t>= </a:t>
            </a:r>
            <a:r>
              <a:rPr lang="en-GB" sz="1200" dirty="0"/>
              <a:t>runtime visibility and semantic boundaries for policy rule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Hierarchical and expressed using dot notation (e.g., “</a:t>
            </a:r>
            <a:r>
              <a:rPr lang="en-GB" sz="1200" dirty="0" err="1"/>
              <a:t>provision.verify</a:t>
            </a:r>
            <a:r>
              <a:rPr lang="en-GB" sz="1200" dirty="0"/>
              <a:t>”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If a rule is visible in a given scope, it will be included in policy evaluations for that scope; otherwise, it will be omitted.</a:t>
            </a:r>
          </a:p>
          <a:p>
            <a:pPr hangingPunct="0"/>
            <a:endParaRPr lang="en-GB" sz="1200" b="1" dirty="0"/>
          </a:p>
          <a:p>
            <a:pPr hangingPunct="0"/>
            <a:r>
              <a:rPr lang="en-GB" sz="1200" b="1" dirty="0"/>
              <a:t>Rule Binding </a:t>
            </a:r>
            <a:r>
              <a:rPr lang="en-GB" sz="1200" dirty="0"/>
              <a:t>= makes a rule type visible in a policy scop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204145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18310C-1344-4E8E-8544-BBD7DE6B2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licy Scopes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CF3F26-55A4-4F68-9D42-2AB2E0C748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Application</a:t>
            </a:r>
            <a:endParaRPr lang="en-GB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18374E4-C323-4564-A742-B6103CB4B8E8}"/>
              </a:ext>
            </a:extLst>
          </p:cNvPr>
          <p:cNvSpPr/>
          <p:nvPr/>
        </p:nvSpPr>
        <p:spPr>
          <a:xfrm>
            <a:off x="395021" y="1727180"/>
            <a:ext cx="830275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hangingPunct="0">
              <a:buFont typeface="+mj-lt"/>
              <a:buAutoNum type="arabicPeriod"/>
            </a:pPr>
            <a:r>
              <a:rPr lang="en-US" sz="1200" dirty="0"/>
              <a:t>Define policy scope in service extension</a:t>
            </a:r>
          </a:p>
          <a:p>
            <a:pPr marL="228600" indent="-228600" hangingPunct="0">
              <a:buFont typeface="+mj-lt"/>
              <a:buAutoNum type="arabicPeriod"/>
            </a:pPr>
            <a:endParaRPr lang="en-US" sz="1200" dirty="0"/>
          </a:p>
          <a:p>
            <a:pPr marL="228600" indent="-228600" hangingPunct="0">
              <a:buFont typeface="+mj-lt"/>
              <a:buAutoNum type="arabicPeriod"/>
            </a:pPr>
            <a:endParaRPr lang="en-US" sz="1200" dirty="0"/>
          </a:p>
          <a:p>
            <a:pPr marL="228600" indent="-228600" hangingPunct="0">
              <a:buFont typeface="+mj-lt"/>
              <a:buAutoNum type="arabicPeriod"/>
            </a:pPr>
            <a:endParaRPr lang="en-US" sz="1200" dirty="0"/>
          </a:p>
          <a:p>
            <a:pPr marL="228600" indent="-228600" hangingPunct="0">
              <a:buFont typeface="+mj-lt"/>
              <a:buAutoNum type="arabicPeriod"/>
            </a:pPr>
            <a:endParaRPr lang="en-US" sz="1200" dirty="0"/>
          </a:p>
          <a:p>
            <a:pPr marL="228600" indent="-228600" hangingPunct="0">
              <a:buFont typeface="+mj-lt"/>
              <a:buAutoNum type="arabicPeriod"/>
            </a:pPr>
            <a:endParaRPr lang="en-US" sz="1200" dirty="0"/>
          </a:p>
          <a:p>
            <a:pPr marL="228600" indent="-228600" hangingPunct="0">
              <a:buFont typeface="+mj-lt"/>
              <a:buAutoNum type="arabicPeriod"/>
            </a:pPr>
            <a:r>
              <a:rPr lang="en-US" sz="1200" dirty="0"/>
              <a:t>Add </a:t>
            </a:r>
            <a:r>
              <a:rPr lang="en-US" sz="1200" dirty="0" err="1"/>
              <a:t>RuleBindingRegistry</a:t>
            </a:r>
            <a:r>
              <a:rPr lang="en-US" sz="1200" dirty="0"/>
              <a:t> to </a:t>
            </a:r>
            <a:r>
              <a:rPr lang="en-US" sz="1200" dirty="0" err="1"/>
              <a:t>ServiceExtensionContext</a:t>
            </a:r>
            <a:r>
              <a:rPr lang="en-US" sz="1200" dirty="0"/>
              <a:t> </a:t>
            </a:r>
          </a:p>
          <a:p>
            <a:pPr marL="228600" indent="-228600" hangingPunct="0">
              <a:buFont typeface="+mj-lt"/>
              <a:buAutoNum type="arabicPeriod"/>
            </a:pPr>
            <a:r>
              <a:rPr lang="en-US" sz="1200" dirty="0"/>
              <a:t>Bind policy with scope</a:t>
            </a:r>
          </a:p>
          <a:p>
            <a:pPr marL="228600" indent="-228600" hangingPunct="0">
              <a:buFont typeface="+mj-lt"/>
              <a:buAutoNum type="arabicPeriod"/>
            </a:pPr>
            <a:endParaRPr lang="en-US" sz="1200" dirty="0"/>
          </a:p>
          <a:p>
            <a:pPr marL="228600" indent="-228600" hangingPunct="0">
              <a:buFont typeface="+mj-lt"/>
              <a:buAutoNum type="arabicPeriod"/>
            </a:pPr>
            <a:endParaRPr lang="en-US" sz="1200" dirty="0"/>
          </a:p>
          <a:p>
            <a:pPr marL="228600" indent="-228600" hangingPunct="0">
              <a:buFont typeface="+mj-lt"/>
              <a:buAutoNum type="arabicPeriod"/>
            </a:pPr>
            <a:endParaRPr lang="en-US" sz="1200" dirty="0"/>
          </a:p>
          <a:p>
            <a:pPr marL="228600" indent="-228600" hangingPunct="0">
              <a:buFont typeface="+mj-lt"/>
              <a:buAutoNum type="arabicPeriod"/>
            </a:pPr>
            <a:r>
              <a:rPr lang="en-US" sz="1200" dirty="0"/>
              <a:t>During execution: </a:t>
            </a:r>
            <a:r>
              <a:rPr lang="en-US" sz="1200" dirty="0" err="1"/>
              <a:t>ScopeFilter</a:t>
            </a:r>
            <a:r>
              <a:rPr lang="en-US" sz="1200" dirty="0"/>
              <a:t> f</a:t>
            </a:r>
            <a:r>
              <a:rPr lang="en-GB" sz="1200" dirty="0" err="1"/>
              <a:t>ilters</a:t>
            </a:r>
            <a:r>
              <a:rPr lang="en-GB" sz="1200" dirty="0"/>
              <a:t> a policy for a scope. This involves recursively removing rules and constraints not bound to the scope and returning a modified copy of the unfiltered policy. </a:t>
            </a:r>
            <a:r>
              <a:rPr lang="en-GB" sz="1200" dirty="0">
                <a:sym typeface="Wingdings" panose="05000000000000000000" pitchFamily="2" charset="2"/>
              </a:rPr>
              <a:t>(applicable to policy, permission, duty, prohibition, condition)</a:t>
            </a:r>
            <a:endParaRPr lang="en-US" sz="1200" dirty="0">
              <a:sym typeface="Wingdings" panose="05000000000000000000" pitchFamily="2" charset="2"/>
            </a:endParaRPr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GB" sz="1200" dirty="0">
              <a:sym typeface="Wingdings" panose="05000000000000000000" pitchFamily="2" charset="2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7FC7E3-D0BC-42C6-952E-521C079B8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176" y="2007316"/>
            <a:ext cx="2880320" cy="63352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F2B6AAF-D772-44BE-A28A-564D5DA9DD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176" y="3282154"/>
            <a:ext cx="3409601" cy="36971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1762178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588149-83B7-4132-A116-25EA8A9153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Outlook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2200C4-216E-4045-AA18-7A994045B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clipse</a:t>
            </a:r>
            <a:r>
              <a:rPr lang="de-DE" dirty="0"/>
              <a:t> </a:t>
            </a:r>
            <a:r>
              <a:rPr lang="de-DE" dirty="0" err="1"/>
              <a:t>dataspace</a:t>
            </a:r>
            <a:r>
              <a:rPr lang="de-DE" dirty="0"/>
              <a:t> Connect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67628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B0EA9E1-C57C-4B41-B3F8-94E362C3D6F8}"/>
              </a:ext>
            </a:extLst>
          </p:cNvPr>
          <p:cNvSpPr/>
          <p:nvPr/>
        </p:nvSpPr>
        <p:spPr>
          <a:xfrm>
            <a:off x="395020" y="3332191"/>
            <a:ext cx="8302751" cy="1075353"/>
          </a:xfrm>
          <a:prstGeom prst="rect">
            <a:avLst/>
          </a:prstGeom>
          <a:solidFill>
            <a:srgbClr val="D3F1FC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Design policy engine, perhaps oriented towards 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r>
              <a:rPr lang="en-GB" sz="1200" dirty="0" err="1">
                <a:hlinkClick r:id="rId2"/>
              </a:rPr>
              <a:t>eXtensible</a:t>
            </a:r>
            <a:r>
              <a:rPr lang="en-GB" sz="1200" dirty="0">
                <a:hlinkClick r:id="rId2"/>
              </a:rPr>
              <a:t> Access Control Markup Language</a:t>
            </a:r>
            <a:r>
              <a:rPr lang="en-GB" sz="1200" dirty="0"/>
              <a:t> (XACML)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and its </a:t>
            </a:r>
            <a:r>
              <a:rPr lang="en-GB" sz="1200" dirty="0">
                <a:hlinkClick r:id="rId3"/>
              </a:rPr>
              <a:t>interpretation and extension by IDS</a:t>
            </a:r>
            <a:endParaRPr lang="en-GB" sz="1200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Implement policy enforcement for selected attributes</a:t>
            </a:r>
          </a:p>
          <a:p>
            <a:pPr hangingPunct="0"/>
            <a:endParaRPr lang="en-GB" sz="1200" dirty="0"/>
          </a:p>
          <a:p>
            <a:pPr hangingPunct="0"/>
            <a:endParaRPr lang="en-GB" sz="1200" dirty="0"/>
          </a:p>
          <a:p>
            <a:pPr hangingPunct="0"/>
            <a:endParaRPr lang="en-GB" sz="1200" dirty="0"/>
          </a:p>
          <a:p>
            <a:pPr hangingPunct="0"/>
            <a:endParaRPr lang="en-GB" sz="1200" dirty="0"/>
          </a:p>
          <a:p>
            <a:pPr hangingPunct="0"/>
            <a:endParaRPr lang="en-GB" sz="1200" dirty="0"/>
          </a:p>
          <a:p>
            <a:pPr hangingPunct="0"/>
            <a:r>
              <a:rPr lang="en-GB" sz="1200" b="1" dirty="0"/>
              <a:t>Discussion point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What kinds of policy need to be supported?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How to connect standardized interfaces and use external tools (e.g., OPA)?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How to provide standardized interfaces for extensions?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How to ensure policy enforcement for data that leaves the connector?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29567BF-015A-4986-9D94-12A1D920997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2040" y="819150"/>
            <a:ext cx="3765731" cy="237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0900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B82BEB3D-65EC-45D1-BE29-F82DA3CCEF22}"/>
              </a:ext>
            </a:extLst>
          </p:cNvPr>
          <p:cNvSpPr/>
          <p:nvPr/>
        </p:nvSpPr>
        <p:spPr>
          <a:xfrm>
            <a:off x="395020" y="4083918"/>
            <a:ext cx="8302751" cy="323626"/>
          </a:xfrm>
          <a:prstGeom prst="rect">
            <a:avLst/>
          </a:prstGeom>
          <a:solidFill>
            <a:srgbClr val="D3F1FC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Event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1200" b="1" dirty="0"/>
              <a:t>2nd Gaia-X Hackathon </a:t>
            </a:r>
            <a:r>
              <a:rPr lang="en-US" sz="1200" dirty="0"/>
              <a:t>(12/2021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Bringing Usage Control (UCON+) into the EDC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Provide extension (EDC-UCS) that extends the default policy behavior of the EDC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Add custom PEPs and obligations for two samples (file transfer, streaming): anonymize e-mail address with a regex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More information </a:t>
            </a:r>
            <a:r>
              <a:rPr lang="en-GB" sz="1200" dirty="0">
                <a:hlinkClick r:id="rId2"/>
              </a:rPr>
              <a:t>here</a:t>
            </a:r>
            <a:endParaRPr lang="en-GB" sz="1200" dirty="0"/>
          </a:p>
          <a:p>
            <a:pPr hangingPunct="0"/>
            <a:endParaRPr lang="en-US" sz="1200" dirty="0"/>
          </a:p>
          <a:p>
            <a:pPr hangingPunct="0"/>
            <a:r>
              <a:rPr lang="en-US" sz="1200" b="1" dirty="0"/>
              <a:t>3rd Gaia-X Hackathon </a:t>
            </a:r>
            <a:r>
              <a:rPr lang="en-US" sz="1200" dirty="0"/>
              <a:t>(03/2022)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Understand the mapping between the ODRL and XACML models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Implement a PoC that outputs ALFA policies based on ODRL policies 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Demonstrate this with the EDC-UCON integration results from the previous hackathon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GB" sz="1200" dirty="0"/>
              <a:t>More information </a:t>
            </a:r>
            <a:r>
              <a:rPr lang="en-GB" sz="1200" dirty="0">
                <a:hlinkClick r:id="rId3"/>
              </a:rPr>
              <a:t>here</a:t>
            </a:r>
            <a:endParaRPr lang="en-GB" sz="1200" dirty="0"/>
          </a:p>
          <a:p>
            <a:pPr marL="171450" indent="-171450" hangingPunct="0">
              <a:buFont typeface="Arial" panose="020B0604020202020204" pitchFamily="34" charset="0"/>
              <a:buChar char="•"/>
            </a:pPr>
            <a:endParaRPr lang="en-GB" sz="1200" dirty="0"/>
          </a:p>
          <a:p>
            <a:pPr hangingPunct="0"/>
            <a:endParaRPr lang="en-US" sz="1200" dirty="0"/>
          </a:p>
          <a:p>
            <a:pPr hangingPunct="0"/>
            <a:r>
              <a:rPr lang="en-US" sz="1200" dirty="0"/>
              <a:t>Contributions from German Research Center, Huawei Technologies (Munich) and Security Forge (Pisa)</a:t>
            </a:r>
          </a:p>
        </p:txBody>
      </p:sp>
    </p:spTree>
    <p:extLst>
      <p:ext uri="{BB962C8B-B14F-4D97-AF65-F5344CB8AC3E}">
        <p14:creationId xmlns:p14="http://schemas.microsoft.com/office/powerpoint/2010/main" val="42385349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6BE22E7-7BAF-4B65-A5CC-79165E73CF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9935" t="2508"/>
          <a:stretch/>
        </p:blipFill>
        <p:spPr>
          <a:xfrm>
            <a:off x="6588224" y="819150"/>
            <a:ext cx="2109548" cy="358226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A14942D9-A9FF-47A8-B6B2-BDC2F65889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508" r="38394"/>
          <a:stretch/>
        </p:blipFill>
        <p:spPr>
          <a:xfrm>
            <a:off x="2265471" y="819149"/>
            <a:ext cx="4322753" cy="3582267"/>
          </a:xfrm>
          <a:prstGeom prst="rect">
            <a:avLst/>
          </a:prstGeom>
        </p:spPr>
      </p:pic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2485828-B0C6-4DDD-951C-DEE8BF865BFD}"/>
              </a:ext>
            </a:extLst>
          </p:cNvPr>
          <p:cNvSpPr txBox="1">
            <a:spLocks/>
          </p:cNvSpPr>
          <p:nvPr/>
        </p:nvSpPr>
        <p:spPr bwMode="gray">
          <a:xfrm>
            <a:off x="1907704" y="4735969"/>
            <a:ext cx="6461452" cy="1305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dirty="0">
                <a:hlinkClick r:id="rId3"/>
              </a:rPr>
              <a:t>https://github.com/eclipse-dataspaceconnector/Collateral/tree/main/Work Content/Usage Control</a:t>
            </a:r>
            <a:r>
              <a:rPr lang="de-DE" dirty="0">
                <a:solidFill>
                  <a:srgbClr val="0092D2"/>
                </a:solidFill>
              </a:rPr>
              <a:t> </a:t>
            </a:r>
            <a:r>
              <a:rPr lang="de-DE" dirty="0"/>
              <a:t>(</a:t>
            </a:r>
            <a:r>
              <a:rPr lang="de-DE" dirty="0" err="1"/>
              <a:t>accessed</a:t>
            </a:r>
            <a:r>
              <a:rPr lang="de-DE" dirty="0"/>
              <a:t>: 06.05.2022)</a:t>
            </a:r>
          </a:p>
        </p:txBody>
      </p:sp>
    </p:spTree>
    <p:extLst>
      <p:ext uri="{BB962C8B-B14F-4D97-AF65-F5344CB8AC3E}">
        <p14:creationId xmlns:p14="http://schemas.microsoft.com/office/powerpoint/2010/main" val="3265546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Overview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Contract Management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Policy Enforcement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200" dirty="0"/>
              <a:t>Outlook</a:t>
            </a:r>
          </a:p>
          <a:p>
            <a:pPr marL="628650" lvl="1" indent="-171450" hangingPunct="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728189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Jo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scussion</a:t>
            </a:r>
            <a:r>
              <a:rPr lang="de-DE" dirty="0"/>
              <a:t> on </a:t>
            </a:r>
            <a:r>
              <a:rPr lang="de-DE" dirty="0" err="1"/>
              <a:t>github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395021" y="1727180"/>
            <a:ext cx="830275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1200" dirty="0"/>
              <a:t>Issues and discussions</a:t>
            </a:r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2"/>
              </a:rPr>
              <a:t>https://github.com/eclipse-dataspaceconnector/DataSpaceConnector/discussions/878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3"/>
              </a:rPr>
              <a:t>https://github.com/eclipse-dataspaceconnector/DataSpaceConnector/discussions/1229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4"/>
              </a:rPr>
              <a:t>https://github.com/eclipse-dataspaceconnector/DataSpaceConnector/discussions/792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5"/>
              </a:rPr>
              <a:t>https://github.com/eclipse-dataspaceconnector/DataSpaceConnector/discussions/447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6"/>
              </a:rPr>
              <a:t>https://github.com/eclipse-dataspaceconnector/DataSpaceConnector/discussions/742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7"/>
              </a:rPr>
              <a:t>https://github.com/eclipse-dataspaceconnector/DataSpaceConnector/issues/857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endParaRPr lang="en-US" sz="1200" dirty="0"/>
          </a:p>
          <a:p>
            <a:pPr hangingPunct="0"/>
            <a:r>
              <a:rPr lang="en-US" sz="1200" dirty="0"/>
              <a:t>Existing documentation</a:t>
            </a:r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8"/>
              </a:rPr>
              <a:t>https://github.com/eclipse-dataspaceconnector/DataSpaceConnector/blob/main/docs/Policies.md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9"/>
              </a:rPr>
              <a:t>https://github.com/eclipse-dataspaceconnector/DataSpaceConnector/blob/main/docs/domain-model.md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10"/>
              </a:rPr>
              <a:t>https://github.com/eclipse-dataspaceconnector/DataSpaceConnector/blob/main/docs/architecture/contracts.md</a:t>
            </a:r>
            <a:endParaRPr lang="en-US" sz="1200" dirty="0"/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US" sz="1200" dirty="0">
                <a:hlinkClick r:id="rId11"/>
              </a:rPr>
              <a:t>https://github.com/eclipse-dataspaceconnector/DataSpaceConnector/tree/main/docs/developer/decision-records/2022-03-15-policy-scopes</a:t>
            </a:r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55385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Untertitel 46"/>
          <p:cNvSpPr>
            <a:spLocks noGrp="1"/>
          </p:cNvSpPr>
          <p:nvPr>
            <p:ph type="subTitle" idx="1"/>
          </p:nvPr>
        </p:nvSpPr>
        <p:spPr>
          <a:xfrm>
            <a:off x="1763688" y="2790324"/>
            <a:ext cx="5679348" cy="1026348"/>
          </a:xfrm>
        </p:spPr>
        <p:txBody>
          <a:bodyPr>
            <a:normAutofit/>
          </a:bodyPr>
          <a:lstStyle/>
          <a:p>
            <a:r>
              <a:rPr lang="de-DE" sz="2800" dirty="0" err="1"/>
              <a:t>Join</a:t>
            </a:r>
            <a:r>
              <a:rPr lang="de-DE" sz="2800" dirty="0"/>
              <a:t> </a:t>
            </a:r>
            <a:r>
              <a:rPr lang="de-DE" sz="2800" dirty="0" err="1"/>
              <a:t>us</a:t>
            </a:r>
            <a:endParaRPr lang="de-DE" sz="2800" dirty="0"/>
          </a:p>
        </p:txBody>
      </p:sp>
      <p:sp>
        <p:nvSpPr>
          <p:cNvPr id="3" name="Textfeld 2"/>
          <p:cNvSpPr txBox="1"/>
          <p:nvPr/>
        </p:nvSpPr>
        <p:spPr>
          <a:xfrm>
            <a:off x="7493836" y="2280905"/>
            <a:ext cx="585348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500" i="1" dirty="0">
                <a:solidFill>
                  <a:schemeClr val="bg1"/>
                </a:solidFill>
                <a:latin typeface="Georgia" panose="02040502050405020303" pitchFamily="18" charset="0"/>
              </a:rPr>
              <a:t>!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2971" y="3784131"/>
            <a:ext cx="333975" cy="271633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6171561" y="3670369"/>
            <a:ext cx="2044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@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ds_association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# 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nternationaldataspaces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3" name="Untertitel 46"/>
          <p:cNvSpPr txBox="1">
            <a:spLocks/>
          </p:cNvSpPr>
          <p:nvPr/>
        </p:nvSpPr>
        <p:spPr>
          <a:xfrm>
            <a:off x="1763688" y="2643758"/>
            <a:ext cx="3215532" cy="16329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3600" kern="1200" cap="all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8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000" i="1" kern="1200" cap="all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i="1" kern="1200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ulia Pampus</a:t>
            </a:r>
          </a:p>
          <a:p>
            <a:pPr algn="l"/>
            <a:endParaRPr lang="de-DE" sz="900" dirty="0">
              <a:solidFill>
                <a:schemeClr val="tx1"/>
              </a:solidFill>
            </a:endParaRPr>
          </a:p>
          <a:p>
            <a:pPr algn="l"/>
            <a:r>
              <a:rPr lang="de-DE" sz="800" dirty="0">
                <a:solidFill>
                  <a:schemeClr val="tx1"/>
                </a:solidFill>
              </a:rPr>
              <a:t>RESEARCH Associate</a:t>
            </a:r>
          </a:p>
          <a:p>
            <a:pPr algn="l"/>
            <a:r>
              <a:rPr lang="de-DE" sz="800" dirty="0">
                <a:solidFill>
                  <a:schemeClr val="tx1"/>
                </a:solidFill>
              </a:rPr>
              <a:t>Department Data BUSINESS</a:t>
            </a:r>
          </a:p>
          <a:p>
            <a:pPr algn="l"/>
            <a:endParaRPr lang="de-DE" sz="800" dirty="0"/>
          </a:p>
          <a:p>
            <a:pPr algn="l"/>
            <a:r>
              <a:rPr lang="de-DE" sz="800" dirty="0"/>
              <a:t>Julia.pampus@isst.fraunhofer.de</a:t>
            </a:r>
          </a:p>
          <a:p>
            <a:pPr algn="l"/>
            <a:r>
              <a:rPr lang="de-DE" sz="800" dirty="0"/>
              <a:t>+49 231 97677 429</a:t>
            </a:r>
          </a:p>
          <a:p>
            <a:pPr algn="l"/>
            <a:endParaRPr lang="de-DE" sz="800" dirty="0"/>
          </a:p>
          <a:p>
            <a:pPr algn="l"/>
            <a:r>
              <a:rPr lang="de-DE" sz="800" dirty="0"/>
              <a:t>Fraunhofer ISST</a:t>
            </a:r>
          </a:p>
          <a:p>
            <a:pPr algn="l"/>
            <a:r>
              <a:rPr lang="de-DE" sz="800" dirty="0"/>
              <a:t>Emil-Figge-Str. 91</a:t>
            </a:r>
          </a:p>
          <a:p>
            <a:pPr algn="l"/>
            <a:r>
              <a:rPr lang="de-DE" sz="800" dirty="0"/>
              <a:t>44227 Dortmund | Germany</a:t>
            </a: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8" y="838796"/>
            <a:ext cx="2381250" cy="41719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2FD366B-C990-4F0E-AB69-12BDDDD1147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0444"/>
          <a:stretch/>
        </p:blipFill>
        <p:spPr>
          <a:xfrm>
            <a:off x="400299" y="2643758"/>
            <a:ext cx="1128941" cy="1420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187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588149-83B7-4132-A116-25EA8A9153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2200C4-216E-4045-AA18-7A994045B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clipse</a:t>
            </a:r>
            <a:r>
              <a:rPr lang="de-DE" dirty="0"/>
              <a:t> </a:t>
            </a:r>
            <a:r>
              <a:rPr lang="de-DE" dirty="0" err="1"/>
              <a:t>dataspace</a:t>
            </a:r>
            <a:r>
              <a:rPr lang="de-DE" dirty="0"/>
              <a:t> Connect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8814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ical </a:t>
            </a:r>
            <a:r>
              <a:rPr lang="de-DE" dirty="0" err="1"/>
              <a:t>Capabilities</a:t>
            </a:r>
            <a:endParaRPr lang="de-DE" dirty="0"/>
          </a:p>
        </p:txBody>
      </p:sp>
      <p:pic>
        <p:nvPicPr>
          <p:cNvPr id="108" name="Grafik 107">
            <a:extLst>
              <a:ext uri="{FF2B5EF4-FFF2-40B4-BE49-F238E27FC236}">
                <a16:creationId xmlns:a16="http://schemas.microsoft.com/office/drawing/2014/main" id="{B2675657-19B5-4EB8-ADC7-77C89CB8350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80921" y="1203598"/>
            <a:ext cx="7582157" cy="327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8310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 </a:t>
            </a:r>
            <a:r>
              <a:rPr lang="de-DE" dirty="0" err="1"/>
              <a:t>Principl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14" name="Diagram 23">
            <a:extLst>
              <a:ext uri="{FF2B5EF4-FFF2-40B4-BE49-F238E27FC236}">
                <a16:creationId xmlns:a16="http://schemas.microsoft.com/office/drawing/2014/main" id="{D6FC79FE-EEBA-4E9B-8155-A18C6495C1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1398339"/>
              </p:ext>
            </p:extLst>
          </p:nvPr>
        </p:nvGraphicFramePr>
        <p:xfrm>
          <a:off x="309206" y="1347614"/>
          <a:ext cx="3974762" cy="31231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6" name="Diagram 23">
            <a:extLst>
              <a:ext uri="{FF2B5EF4-FFF2-40B4-BE49-F238E27FC236}">
                <a16:creationId xmlns:a16="http://schemas.microsoft.com/office/drawing/2014/main" id="{0BCF9A35-A4E1-45C7-A8F4-E2D0ABB36E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9169764"/>
              </p:ext>
            </p:extLst>
          </p:nvPr>
        </p:nvGraphicFramePr>
        <p:xfrm>
          <a:off x="4139380" y="1347613"/>
          <a:ext cx="3830174" cy="31951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922793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588149-83B7-4132-A116-25EA8A9153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Contract</a:t>
            </a:r>
            <a:r>
              <a:rPr lang="de-DE" dirty="0"/>
              <a:t> </a:t>
            </a:r>
            <a:r>
              <a:rPr lang="de-DE" dirty="0" err="1"/>
              <a:t>management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2200C4-216E-4045-AA18-7A994045B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clipse</a:t>
            </a:r>
            <a:r>
              <a:rPr lang="de-DE" dirty="0"/>
              <a:t> </a:t>
            </a:r>
            <a:r>
              <a:rPr lang="de-DE" dirty="0" err="1"/>
              <a:t>dataspace</a:t>
            </a:r>
            <a:r>
              <a:rPr lang="de-DE" dirty="0"/>
              <a:t> Connect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9843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munication </a:t>
            </a:r>
            <a:r>
              <a:rPr lang="de-DE" dirty="0" err="1"/>
              <a:t>Proces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5" name="Diagram 5">
            <a:extLst>
              <a:ext uri="{FF2B5EF4-FFF2-40B4-BE49-F238E27FC236}">
                <a16:creationId xmlns:a16="http://schemas.microsoft.com/office/drawing/2014/main" id="{F9AFCF50-2E70-46B9-A746-0F6544036A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8010030"/>
              </p:ext>
            </p:extLst>
          </p:nvPr>
        </p:nvGraphicFramePr>
        <p:xfrm>
          <a:off x="395021" y="2139702"/>
          <a:ext cx="8302751" cy="1579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0920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main </a:t>
            </a:r>
            <a:r>
              <a:rPr lang="de-DE" dirty="0" err="1"/>
              <a:t>mode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24F917A2-D660-4AFC-BDE0-1F29C8A16F03}"/>
              </a:ext>
            </a:extLst>
          </p:cNvPr>
          <p:cNvSpPr txBox="1">
            <a:spLocks/>
          </p:cNvSpPr>
          <p:nvPr/>
        </p:nvSpPr>
        <p:spPr bwMode="gray">
          <a:xfrm>
            <a:off x="1907704" y="4735969"/>
            <a:ext cx="6461452" cy="1305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>
                <a:solidFill>
                  <a:srgbClr val="0BA2E3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de-DE" dirty="0">
                <a:solidFill>
                  <a:srgbClr val="0092D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github.com/eclipse-dataspaceconnector/DataSpaceConnector/blob/main/docs/domain-model.md</a:t>
            </a:r>
            <a:r>
              <a:rPr lang="de-DE" dirty="0">
                <a:solidFill>
                  <a:srgbClr val="0092D2"/>
                </a:solidFill>
              </a:rPr>
              <a:t> </a:t>
            </a:r>
            <a:r>
              <a:rPr lang="de-DE" dirty="0"/>
              <a:t>(</a:t>
            </a:r>
            <a:r>
              <a:rPr lang="de-DE" dirty="0" err="1"/>
              <a:t>accessed</a:t>
            </a:r>
            <a:r>
              <a:rPr lang="de-DE" dirty="0"/>
              <a:t>: 20.04.2022)</a:t>
            </a:r>
          </a:p>
        </p:txBody>
      </p:sp>
      <p:sp>
        <p:nvSpPr>
          <p:cNvPr id="59" name="Rectangle 188">
            <a:extLst>
              <a:ext uri="{FF2B5EF4-FFF2-40B4-BE49-F238E27FC236}">
                <a16:creationId xmlns:a16="http://schemas.microsoft.com/office/drawing/2014/main" id="{224F26D9-C96A-43CE-B35A-F2DB49C6DD70}"/>
              </a:ext>
            </a:extLst>
          </p:cNvPr>
          <p:cNvSpPr/>
          <p:nvPr/>
        </p:nvSpPr>
        <p:spPr bwMode="gray">
          <a:xfrm>
            <a:off x="388351" y="1715094"/>
            <a:ext cx="1970188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ntract Definition</a:t>
            </a:r>
          </a:p>
        </p:txBody>
      </p:sp>
      <p:sp>
        <p:nvSpPr>
          <p:cNvPr id="61" name="Rectangle 188">
            <a:extLst>
              <a:ext uri="{FF2B5EF4-FFF2-40B4-BE49-F238E27FC236}">
                <a16:creationId xmlns:a16="http://schemas.microsoft.com/office/drawing/2014/main" id="{20643A52-9A39-4F37-9D78-2D4E2E0E88DE}"/>
              </a:ext>
            </a:extLst>
          </p:cNvPr>
          <p:cNvSpPr/>
          <p:nvPr/>
        </p:nvSpPr>
        <p:spPr bwMode="gray">
          <a:xfrm>
            <a:off x="390803" y="3266348"/>
            <a:ext cx="1958520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</a:rPr>
              <a:t>Asset</a:t>
            </a:r>
          </a:p>
        </p:txBody>
      </p:sp>
      <p:sp>
        <p:nvSpPr>
          <p:cNvPr id="62" name="Rechteck: abgerundete Ecken 17">
            <a:extLst>
              <a:ext uri="{FF2B5EF4-FFF2-40B4-BE49-F238E27FC236}">
                <a16:creationId xmlns:a16="http://schemas.microsoft.com/office/drawing/2014/main" id="{D856EB90-B76A-4AC9-8F55-C0721288AD3F}"/>
              </a:ext>
            </a:extLst>
          </p:cNvPr>
          <p:cNvSpPr/>
          <p:nvPr/>
        </p:nvSpPr>
        <p:spPr bwMode="gray">
          <a:xfrm>
            <a:off x="392361" y="3532300"/>
            <a:ext cx="1966178" cy="598448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latin typeface="+mn-lt"/>
                <a:ea typeface="Verdana" panose="020B0604030504040204" pitchFamily="34" charset="0"/>
              </a:rPr>
              <a:t>Describes data that should be transferred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D677B796-22E0-47B6-9489-2892EB720592}"/>
              </a:ext>
            </a:extLst>
          </p:cNvPr>
          <p:cNvCxnSpPr>
            <a:cxnSpLocks/>
            <a:stCxn id="100" idx="3"/>
            <a:endCxn id="104" idx="1"/>
          </p:cNvCxnSpPr>
          <p:nvPr/>
        </p:nvCxnSpPr>
        <p:spPr>
          <a:xfrm>
            <a:off x="2349323" y="2278584"/>
            <a:ext cx="1216598" cy="2732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>
            <a:extLst>
              <a:ext uri="{FF2B5EF4-FFF2-40B4-BE49-F238E27FC236}">
                <a16:creationId xmlns:a16="http://schemas.microsoft.com/office/drawing/2014/main" id="{F913FCC4-7482-4502-AB49-4B8D78527AD4}"/>
              </a:ext>
            </a:extLst>
          </p:cNvPr>
          <p:cNvSpPr txBox="1"/>
          <p:nvPr/>
        </p:nvSpPr>
        <p:spPr>
          <a:xfrm flipH="1">
            <a:off x="2112187" y="2032904"/>
            <a:ext cx="1650377" cy="2330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dirty="0" err="1"/>
              <a:t>generates</a:t>
            </a:r>
            <a:endParaRPr lang="en-GB" sz="1200" dirty="0"/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F4208890-A369-4FCC-8BEA-E46A9CC636AF}"/>
              </a:ext>
            </a:extLst>
          </p:cNvPr>
          <p:cNvCxnSpPr>
            <a:cxnSpLocks/>
            <a:stCxn id="100" idx="2"/>
            <a:endCxn id="61" idx="0"/>
          </p:cNvCxnSpPr>
          <p:nvPr/>
        </p:nvCxnSpPr>
        <p:spPr>
          <a:xfrm>
            <a:off x="1367667" y="2576717"/>
            <a:ext cx="2396" cy="689631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AF7C5100-5776-4D95-A090-AA62B49FB17D}"/>
              </a:ext>
            </a:extLst>
          </p:cNvPr>
          <p:cNvSpPr txBox="1"/>
          <p:nvPr/>
        </p:nvSpPr>
        <p:spPr>
          <a:xfrm flipH="1">
            <a:off x="7321550" y="2776531"/>
            <a:ext cx="1670375" cy="2330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dirty="0" err="1"/>
              <a:t>generates</a:t>
            </a:r>
            <a:endParaRPr lang="en-GB" sz="1200" dirty="0"/>
          </a:p>
        </p:txBody>
      </p: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F5700DC2-4653-45AD-9646-1F4EACF26F9A}"/>
              </a:ext>
            </a:extLst>
          </p:cNvPr>
          <p:cNvCxnSpPr>
            <a:cxnSpLocks/>
            <a:stCxn id="104" idx="2"/>
            <a:endCxn id="120" idx="1"/>
          </p:cNvCxnSpPr>
          <p:nvPr/>
        </p:nvCxnSpPr>
        <p:spPr>
          <a:xfrm>
            <a:off x="4545181" y="2579449"/>
            <a:ext cx="2187145" cy="1251188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173FAF8B-ECC2-46B1-B28F-79940BA27FDE}"/>
              </a:ext>
            </a:extLst>
          </p:cNvPr>
          <p:cNvSpPr txBox="1"/>
          <p:nvPr/>
        </p:nvSpPr>
        <p:spPr>
          <a:xfrm flipH="1">
            <a:off x="5033922" y="2772039"/>
            <a:ext cx="1670375" cy="2330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dirty="0" err="1"/>
              <a:t>converted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endParaRPr lang="de-DE" sz="1200" dirty="0"/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44EF77D4-31AD-4DE3-8A1D-5DFDDBCB8599}"/>
              </a:ext>
            </a:extLst>
          </p:cNvPr>
          <p:cNvCxnSpPr>
            <a:cxnSpLocks/>
            <a:stCxn id="99" idx="1"/>
            <a:endCxn id="104" idx="3"/>
          </p:cNvCxnSpPr>
          <p:nvPr/>
        </p:nvCxnSpPr>
        <p:spPr>
          <a:xfrm flipH="1">
            <a:off x="5524441" y="2279821"/>
            <a:ext cx="1207885" cy="1495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feld 75">
            <a:extLst>
              <a:ext uri="{FF2B5EF4-FFF2-40B4-BE49-F238E27FC236}">
                <a16:creationId xmlns:a16="http://schemas.microsoft.com/office/drawing/2014/main" id="{BA2B85AB-DBFA-44CC-B2AE-B1615649774B}"/>
              </a:ext>
            </a:extLst>
          </p:cNvPr>
          <p:cNvSpPr txBox="1"/>
          <p:nvPr/>
        </p:nvSpPr>
        <p:spPr>
          <a:xfrm flipH="1">
            <a:off x="5297961" y="2032904"/>
            <a:ext cx="1650378" cy="2330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200" dirty="0" err="1"/>
              <a:t>contains</a:t>
            </a:r>
            <a:endParaRPr lang="en-GB" sz="1200" dirty="0"/>
          </a:p>
        </p:txBody>
      </p: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D058C73E-69B9-4369-B4D5-70FE55C6E4C8}"/>
              </a:ext>
            </a:extLst>
          </p:cNvPr>
          <p:cNvCxnSpPr>
            <a:cxnSpLocks/>
            <a:stCxn id="99" idx="2"/>
            <a:endCxn id="119" idx="0"/>
          </p:cNvCxnSpPr>
          <p:nvPr/>
        </p:nvCxnSpPr>
        <p:spPr>
          <a:xfrm flipH="1">
            <a:off x="7717331" y="2577954"/>
            <a:ext cx="506" cy="684635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257D9B6E-E084-4C2D-B2E3-54699DC3C3C8}"/>
              </a:ext>
            </a:extLst>
          </p:cNvPr>
          <p:cNvSpPr txBox="1"/>
          <p:nvPr/>
        </p:nvSpPr>
        <p:spPr>
          <a:xfrm flipH="1">
            <a:off x="1514135" y="2772039"/>
            <a:ext cx="1670375" cy="2330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200" dirty="0" err="1"/>
              <a:t>selects</a:t>
            </a:r>
            <a:endParaRPr lang="en-GB" sz="1200" dirty="0"/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8CE364B2-89C2-4C3C-A10A-B4D0D8D402DF}"/>
              </a:ext>
            </a:extLst>
          </p:cNvPr>
          <p:cNvCxnSpPr>
            <a:cxnSpLocks/>
            <a:stCxn id="104" idx="2"/>
            <a:endCxn id="109" idx="0"/>
          </p:cNvCxnSpPr>
          <p:nvPr/>
        </p:nvCxnSpPr>
        <p:spPr>
          <a:xfrm>
            <a:off x="4545181" y="2579449"/>
            <a:ext cx="1176" cy="683140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760CD518-955A-4D67-9010-490CED4E9194}"/>
              </a:ext>
            </a:extLst>
          </p:cNvPr>
          <p:cNvSpPr txBox="1"/>
          <p:nvPr/>
        </p:nvSpPr>
        <p:spPr>
          <a:xfrm flipH="1">
            <a:off x="2724988" y="2770932"/>
            <a:ext cx="1670375" cy="2330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1200" dirty="0" err="1"/>
              <a:t>contains</a:t>
            </a:r>
            <a:endParaRPr lang="de-DE" sz="1200" dirty="0"/>
          </a:p>
        </p:txBody>
      </p:sp>
      <p:sp>
        <p:nvSpPr>
          <p:cNvPr id="98" name="Rectangle 188">
            <a:extLst>
              <a:ext uri="{FF2B5EF4-FFF2-40B4-BE49-F238E27FC236}">
                <a16:creationId xmlns:a16="http://schemas.microsoft.com/office/drawing/2014/main" id="{2103B769-7849-4127-B58A-F7EB0EC76E99}"/>
              </a:ext>
            </a:extLst>
          </p:cNvPr>
          <p:cNvSpPr/>
          <p:nvPr/>
        </p:nvSpPr>
        <p:spPr bwMode="gray">
          <a:xfrm>
            <a:off x="6732326" y="1718123"/>
            <a:ext cx="1971021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ntract Negotiation</a:t>
            </a:r>
          </a:p>
        </p:txBody>
      </p:sp>
      <p:sp>
        <p:nvSpPr>
          <p:cNvPr id="99" name="Rechteck: abgerundete Ecken 17">
            <a:extLst>
              <a:ext uri="{FF2B5EF4-FFF2-40B4-BE49-F238E27FC236}">
                <a16:creationId xmlns:a16="http://schemas.microsoft.com/office/drawing/2014/main" id="{79B156C5-6099-495A-896C-5D775EB66E59}"/>
              </a:ext>
            </a:extLst>
          </p:cNvPr>
          <p:cNvSpPr/>
          <p:nvPr/>
        </p:nvSpPr>
        <p:spPr bwMode="gray">
          <a:xfrm>
            <a:off x="6732326" y="1981688"/>
            <a:ext cx="1971021" cy="596266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latin typeface="+mn-lt"/>
                <a:ea typeface="Verdana" panose="020B0604030504040204" pitchFamily="34" charset="0"/>
              </a:rPr>
              <a:t>Represents </a:t>
            </a:r>
          </a:p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latin typeface="+mn-lt"/>
                <a:ea typeface="Verdana" panose="020B0604030504040204" pitchFamily="34" charset="0"/>
              </a:rPr>
              <a:t>negotiation proces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DF9F494F-68F7-4CFD-9404-06A822823FF1}"/>
              </a:ext>
            </a:extLst>
          </p:cNvPr>
          <p:cNvSpPr/>
          <p:nvPr/>
        </p:nvSpPr>
        <p:spPr>
          <a:xfrm>
            <a:off x="386010" y="1980451"/>
            <a:ext cx="1963313" cy="596266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emplate for </a:t>
            </a:r>
          </a:p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ntract offers</a:t>
            </a:r>
          </a:p>
        </p:txBody>
      </p:sp>
      <p:sp>
        <p:nvSpPr>
          <p:cNvPr id="103" name="Rectangle 188">
            <a:extLst>
              <a:ext uri="{FF2B5EF4-FFF2-40B4-BE49-F238E27FC236}">
                <a16:creationId xmlns:a16="http://schemas.microsoft.com/office/drawing/2014/main" id="{C207D04D-BDCF-46AF-BE6B-1576690FE879}"/>
              </a:ext>
            </a:extLst>
          </p:cNvPr>
          <p:cNvSpPr/>
          <p:nvPr/>
        </p:nvSpPr>
        <p:spPr bwMode="gray">
          <a:xfrm>
            <a:off x="3567097" y="1715094"/>
            <a:ext cx="1957344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ntract Offer</a:t>
            </a:r>
          </a:p>
        </p:txBody>
      </p:sp>
      <p:sp>
        <p:nvSpPr>
          <p:cNvPr id="104" name="Rechteck: abgerundete Ecken 17">
            <a:extLst>
              <a:ext uri="{FF2B5EF4-FFF2-40B4-BE49-F238E27FC236}">
                <a16:creationId xmlns:a16="http://schemas.microsoft.com/office/drawing/2014/main" id="{A2C8659C-161C-4ECA-BD9A-184EB1B79341}"/>
              </a:ext>
            </a:extLst>
          </p:cNvPr>
          <p:cNvSpPr/>
          <p:nvPr/>
        </p:nvSpPr>
        <p:spPr bwMode="gray">
          <a:xfrm>
            <a:off x="3565921" y="1983183"/>
            <a:ext cx="1958520" cy="596266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GB" sz="1200" dirty="0">
                <a:latin typeface="+mn-lt"/>
                <a:ea typeface="Verdana" panose="020B0604030504040204" pitchFamily="34" charset="0"/>
              </a:rPr>
              <a:t>Dynamically generated and not persisted</a:t>
            </a:r>
          </a:p>
        </p:txBody>
      </p:sp>
      <p:sp>
        <p:nvSpPr>
          <p:cNvPr id="109" name="Rectangle 188">
            <a:extLst>
              <a:ext uri="{FF2B5EF4-FFF2-40B4-BE49-F238E27FC236}">
                <a16:creationId xmlns:a16="http://schemas.microsoft.com/office/drawing/2014/main" id="{0BB8E66F-3E80-476A-BE4D-E97096496048}"/>
              </a:ext>
            </a:extLst>
          </p:cNvPr>
          <p:cNvSpPr/>
          <p:nvPr/>
        </p:nvSpPr>
        <p:spPr bwMode="gray">
          <a:xfrm>
            <a:off x="3567097" y="3262589"/>
            <a:ext cx="1958520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olicy</a:t>
            </a:r>
          </a:p>
        </p:txBody>
      </p:sp>
      <p:sp>
        <p:nvSpPr>
          <p:cNvPr id="110" name="Rechteck: abgerundete Ecken 17">
            <a:extLst>
              <a:ext uri="{FF2B5EF4-FFF2-40B4-BE49-F238E27FC236}">
                <a16:creationId xmlns:a16="http://schemas.microsoft.com/office/drawing/2014/main" id="{76375746-DBF3-4A0C-A019-398485781410}"/>
              </a:ext>
            </a:extLst>
          </p:cNvPr>
          <p:cNvSpPr/>
          <p:nvPr/>
        </p:nvSpPr>
        <p:spPr bwMode="gray">
          <a:xfrm>
            <a:off x="3565920" y="3532409"/>
            <a:ext cx="1959026" cy="596266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Technically processable (based on ODRL)</a:t>
            </a:r>
          </a:p>
        </p:txBody>
      </p:sp>
      <p:sp>
        <p:nvSpPr>
          <p:cNvPr id="119" name="Rectangle 188">
            <a:extLst>
              <a:ext uri="{FF2B5EF4-FFF2-40B4-BE49-F238E27FC236}">
                <a16:creationId xmlns:a16="http://schemas.microsoft.com/office/drawing/2014/main" id="{064CCEC0-C1DD-4C9B-9032-12DDE75311DA}"/>
              </a:ext>
            </a:extLst>
          </p:cNvPr>
          <p:cNvSpPr/>
          <p:nvPr/>
        </p:nvSpPr>
        <p:spPr bwMode="gray">
          <a:xfrm>
            <a:off x="6731314" y="3262589"/>
            <a:ext cx="1972034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ntract Agreement</a:t>
            </a:r>
          </a:p>
        </p:txBody>
      </p:sp>
      <p:sp>
        <p:nvSpPr>
          <p:cNvPr id="120" name="Rechteck: abgerundete Ecken 17">
            <a:extLst>
              <a:ext uri="{FF2B5EF4-FFF2-40B4-BE49-F238E27FC236}">
                <a16:creationId xmlns:a16="http://schemas.microsoft.com/office/drawing/2014/main" id="{2CBA2B05-0175-4A2F-B202-525DCFED9782}"/>
              </a:ext>
            </a:extLst>
          </p:cNvPr>
          <p:cNvSpPr/>
          <p:nvPr/>
        </p:nvSpPr>
        <p:spPr bwMode="gray">
          <a:xfrm>
            <a:off x="6732326" y="3532504"/>
            <a:ext cx="1971021" cy="596266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Signed contract between data provider and consumer</a:t>
            </a:r>
          </a:p>
        </p:txBody>
      </p:sp>
    </p:spTree>
    <p:extLst>
      <p:ext uri="{BB962C8B-B14F-4D97-AF65-F5344CB8AC3E}">
        <p14:creationId xmlns:p14="http://schemas.microsoft.com/office/powerpoint/2010/main" val="2466949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ract</a:t>
            </a:r>
            <a:r>
              <a:rPr lang="de-DE" dirty="0"/>
              <a:t> Defini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2469637" y="2077985"/>
            <a:ext cx="628601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GB" sz="1200" dirty="0"/>
              <a:t>Not part of the data/contract offer</a:t>
            </a:r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GB" sz="1200" dirty="0"/>
              <a:t>Used for implementing access control on metadata level</a:t>
            </a:r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GB" sz="1200" dirty="0"/>
              <a:t>Represents the same structure as a contract policy</a:t>
            </a:r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GB" sz="1200" dirty="0"/>
              <a:t>E.g., this may require another connector to be in a business partner tier</a:t>
            </a:r>
          </a:p>
        </p:txBody>
      </p:sp>
      <p:sp>
        <p:nvSpPr>
          <p:cNvPr id="5" name="Rectangle 188">
            <a:extLst>
              <a:ext uri="{FF2B5EF4-FFF2-40B4-BE49-F238E27FC236}">
                <a16:creationId xmlns:a16="http://schemas.microsoft.com/office/drawing/2014/main" id="{41900DC5-FE41-4BB8-A92F-B59A16801CE2}"/>
              </a:ext>
            </a:extLst>
          </p:cNvPr>
          <p:cNvSpPr/>
          <p:nvPr/>
        </p:nvSpPr>
        <p:spPr bwMode="gray">
          <a:xfrm>
            <a:off x="388351" y="1715094"/>
            <a:ext cx="1970188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Unique Identifier</a:t>
            </a:r>
          </a:p>
        </p:txBody>
      </p:sp>
      <p:sp>
        <p:nvSpPr>
          <p:cNvPr id="7" name="Rectangle 188">
            <a:extLst>
              <a:ext uri="{FF2B5EF4-FFF2-40B4-BE49-F238E27FC236}">
                <a16:creationId xmlns:a16="http://schemas.microsoft.com/office/drawing/2014/main" id="{C8CD0892-1F6F-49F1-A833-9C94434D2088}"/>
              </a:ext>
            </a:extLst>
          </p:cNvPr>
          <p:cNvSpPr/>
          <p:nvPr/>
        </p:nvSpPr>
        <p:spPr bwMode="gray">
          <a:xfrm>
            <a:off x="388351" y="2077985"/>
            <a:ext cx="1970188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ccess Policy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EC7D821-13E9-40DB-A0E7-7CB938BDEC07}"/>
              </a:ext>
            </a:extLst>
          </p:cNvPr>
          <p:cNvSpPr/>
          <p:nvPr/>
        </p:nvSpPr>
        <p:spPr>
          <a:xfrm>
            <a:off x="386010" y="2343342"/>
            <a:ext cx="1972529" cy="596266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GB" sz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on-public requirements for accessing a set of assets</a:t>
            </a:r>
            <a:endParaRPr lang="en-US" sz="12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Rectangle 188">
            <a:extLst>
              <a:ext uri="{FF2B5EF4-FFF2-40B4-BE49-F238E27FC236}">
                <a16:creationId xmlns:a16="http://schemas.microsoft.com/office/drawing/2014/main" id="{F4D64570-5622-4D3B-AC4C-D2970F021155}"/>
              </a:ext>
            </a:extLst>
          </p:cNvPr>
          <p:cNvSpPr/>
          <p:nvPr/>
        </p:nvSpPr>
        <p:spPr bwMode="gray">
          <a:xfrm>
            <a:off x="386010" y="3056764"/>
            <a:ext cx="1970188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ntract Polic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AD5E633-7C82-4D6D-A6DD-50B7F9080EF2}"/>
              </a:ext>
            </a:extLst>
          </p:cNvPr>
          <p:cNvSpPr/>
          <p:nvPr/>
        </p:nvSpPr>
        <p:spPr>
          <a:xfrm>
            <a:off x="383669" y="3322121"/>
            <a:ext cx="1972529" cy="596266"/>
          </a:xfrm>
          <a:prstGeom prst="rect">
            <a:avLst/>
          </a:prstGeom>
          <a:solidFill>
            <a:srgbClr val="D3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ata usage and</a:t>
            </a:r>
          </a:p>
          <a:p>
            <a:pPr algn="ctr" defTabSz="342785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cess policies</a:t>
            </a:r>
          </a:p>
        </p:txBody>
      </p:sp>
      <p:sp>
        <p:nvSpPr>
          <p:cNvPr id="11" name="Rectangle 188">
            <a:extLst>
              <a:ext uri="{FF2B5EF4-FFF2-40B4-BE49-F238E27FC236}">
                <a16:creationId xmlns:a16="http://schemas.microsoft.com/office/drawing/2014/main" id="{C5F2C223-BEEA-4F60-9DF1-543D2197C8D2}"/>
              </a:ext>
            </a:extLst>
          </p:cNvPr>
          <p:cNvSpPr/>
          <p:nvPr/>
        </p:nvSpPr>
        <p:spPr bwMode="gray">
          <a:xfrm>
            <a:off x="383669" y="4035543"/>
            <a:ext cx="1970188" cy="246093"/>
          </a:xfrm>
          <a:prstGeom prst="rect">
            <a:avLst/>
          </a:prstGeom>
          <a:solidFill>
            <a:srgbClr val="0092D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53970" tIns="53970" rIns="53970" bIns="5397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362702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sset Selecto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776AA4A-C0AD-4D65-B6AD-2C9A47123C4B}"/>
              </a:ext>
            </a:extLst>
          </p:cNvPr>
          <p:cNvSpPr/>
          <p:nvPr/>
        </p:nvSpPr>
        <p:spPr>
          <a:xfrm>
            <a:off x="2469637" y="3052604"/>
            <a:ext cx="628601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GB" sz="1200" dirty="0"/>
              <a:t>Defines the requirements a data consumer must follow when using (e.g., processing) the data</a:t>
            </a:r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GB" sz="1200" dirty="0"/>
              <a:t>Advertised to other connectors as part of a contract</a:t>
            </a:r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GB" sz="1200" dirty="0"/>
              <a:t>The final contract is agreed upon during a negotiation process</a:t>
            </a:r>
          </a:p>
          <a:p>
            <a:pPr marL="285750" indent="-285750" hangingPunct="0">
              <a:buFont typeface="Arial" panose="020B0604020202020204" pitchFamily="34" charset="0"/>
              <a:buChar char="•"/>
            </a:pPr>
            <a:r>
              <a:rPr lang="en-GB" sz="1200" dirty="0"/>
              <a:t>Follows the structure of ODRL: target, assigner, assignee, rules, constraints, etc.</a:t>
            </a:r>
          </a:p>
        </p:txBody>
      </p:sp>
    </p:spTree>
    <p:extLst>
      <p:ext uri="{BB962C8B-B14F-4D97-AF65-F5344CB8AC3E}">
        <p14:creationId xmlns:p14="http://schemas.microsoft.com/office/powerpoint/2010/main" val="3987307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dustrialDataSpace">
  <a:themeElements>
    <a:clrScheme name="IDS Farben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B27359590170440A54DC26BBD4DA352" ma:contentTypeVersion="10" ma:contentTypeDescription="Ein neues Dokument erstellen." ma:contentTypeScope="" ma:versionID="b02857d38023ec342a234ccb82909098">
  <xsd:schema xmlns:xsd="http://www.w3.org/2001/XMLSchema" xmlns:xs="http://www.w3.org/2001/XMLSchema" xmlns:p="http://schemas.microsoft.com/office/2006/metadata/properties" xmlns:ns2="75a4498a-4ee0-4350-a415-2f2a9c659675" targetNamespace="http://schemas.microsoft.com/office/2006/metadata/properties" ma:root="true" ma:fieldsID="cf46ed5541d9e02aec7ba470357b9671" ns2:_="">
    <xsd:import namespace="75a4498a-4ee0-4350-a415-2f2a9c6596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4498a-4ee0-4350-a415-2f2a9c6596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C031B3-D33D-4F79-90F0-F21B84C13EDB}">
  <ds:schemaRefs>
    <ds:schemaRef ds:uri="http://purl.org/dc/terms/"/>
    <ds:schemaRef ds:uri="http://purl.org/dc/dcmitype/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75a4498a-4ee0-4350-a415-2f2a9c659675"/>
  </ds:schemaRefs>
</ds:datastoreItem>
</file>

<file path=customXml/itemProps2.xml><?xml version="1.0" encoding="utf-8"?>
<ds:datastoreItem xmlns:ds="http://schemas.openxmlformats.org/officeDocument/2006/customXml" ds:itemID="{AE2EE6E6-337C-4740-889A-5862A94C63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a4498a-4ee0-4350-a415-2f2a9c6596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F26241-35EC-4DF5-A35C-C3F6F758466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1</Words>
  <Application>Microsoft Office PowerPoint</Application>
  <PresentationFormat>Bildschirmpräsentation (16:9)</PresentationFormat>
  <Paragraphs>190</Paragraphs>
  <Slides>2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30" baseType="lpstr">
      <vt:lpstr>Arial</vt:lpstr>
      <vt:lpstr>Calibri</vt:lpstr>
      <vt:lpstr>Frutiger LT Com 55 Roman</vt:lpstr>
      <vt:lpstr>Georgia</vt:lpstr>
      <vt:lpstr>Montserrat-Bold</vt:lpstr>
      <vt:lpstr>Verdana</vt:lpstr>
      <vt:lpstr>Wingdings</vt:lpstr>
      <vt:lpstr>IndustrialDataSpace</vt:lpstr>
      <vt:lpstr>think-cell Folie</vt:lpstr>
      <vt:lpstr>International Data Spaces</vt:lpstr>
      <vt:lpstr>Agenda</vt:lpstr>
      <vt:lpstr>Eclipse dataspace Connector</vt:lpstr>
      <vt:lpstr>Technical Capabilities</vt:lpstr>
      <vt:lpstr>Design Principles</vt:lpstr>
      <vt:lpstr>Eclipse dataspace Connector</vt:lpstr>
      <vt:lpstr>Communication Process</vt:lpstr>
      <vt:lpstr>Domain model</vt:lpstr>
      <vt:lpstr>Contract Definition</vt:lpstr>
      <vt:lpstr>Contract Negotiation</vt:lpstr>
      <vt:lpstr>Eclipse dataspace Connector</vt:lpstr>
      <vt:lpstr>interfaces</vt:lpstr>
      <vt:lpstr>DSC vs. EDC</vt:lpstr>
      <vt:lpstr>policy scopes</vt:lpstr>
      <vt:lpstr>Policy Scopes</vt:lpstr>
      <vt:lpstr>Eclipse dataspace Connector</vt:lpstr>
      <vt:lpstr>Next steps</vt:lpstr>
      <vt:lpstr>Events</vt:lpstr>
      <vt:lpstr>Workshop</vt:lpstr>
      <vt:lpstr>Join the discussion on github</vt:lpstr>
      <vt:lpstr>PowerPoint-Präsentation</vt:lpstr>
    </vt:vector>
  </TitlesOfParts>
  <Company>Industrial Data Space Asssociation, Fraunhofer IS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 Data Space</dc:title>
  <dc:subject>IDSA Summit 2018</dc:subject>
  <dc:creator>Boris Otto</dc:creator>
  <cp:lastModifiedBy>Pampus, Julia</cp:lastModifiedBy>
  <cp:revision>1159</cp:revision>
  <cp:lastPrinted>2018-06-19T16:38:11Z</cp:lastPrinted>
  <dcterms:created xsi:type="dcterms:W3CDTF">2016-06-08T15:21:09Z</dcterms:created>
  <dcterms:modified xsi:type="dcterms:W3CDTF">2022-05-11T07:3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27359590170440A54DC26BBD4DA352</vt:lpwstr>
  </property>
</Properties>
</file>